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0" r:id="rId1"/>
  </p:sldMasterIdLst>
  <p:notesMasterIdLst>
    <p:notesMasterId r:id="rId3"/>
  </p:notesMasterIdLst>
  <p:handoutMasterIdLst>
    <p:handoutMasterId r:id="rId4"/>
  </p:handoutMasterIdLst>
  <p:sldIdLst>
    <p:sldId id="2134804870" r:id="rId2"/>
  </p:sldIdLst>
  <p:sldSz cx="11949113" cy="6721475"/>
  <p:notesSz cx="6858000" cy="9144000"/>
  <p:custDataLst>
    <p:tags r:id="rId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89" userDrawn="1">
          <p15:clr>
            <a:srgbClr val="A4A3A4"/>
          </p15:clr>
        </p15:guide>
        <p15:guide id="2" orient="horz" pos="348" userDrawn="1">
          <p15:clr>
            <a:srgbClr val="A4A3A4"/>
          </p15:clr>
        </p15:guide>
        <p15:guide id="3" orient="horz" pos="1013" userDrawn="1">
          <p15:clr>
            <a:srgbClr val="A4A3A4"/>
          </p15:clr>
        </p15:guide>
        <p15:guide id="4" pos="727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8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76739"/>
    <a:srgbClr val="F8FFF7"/>
    <a:srgbClr val="33663C"/>
    <a:srgbClr val="E1F2E0"/>
    <a:srgbClr val="FCEDC6"/>
    <a:srgbClr val="F8F5E0"/>
    <a:srgbClr val="F9DDB9"/>
    <a:srgbClr val="FFD390"/>
    <a:srgbClr val="FFAFAC"/>
    <a:srgbClr val="FD97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  <p:ext uri="{1BD7E111-0CB8-44D6-8891-C1BB2F81B7CC}">
      <p1710:readonlyRecommended xmlns:p1710="http://schemas.microsoft.com/office/powerpoint/2017/10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–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–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1348" autoAdjust="0"/>
    <p:restoredTop sz="93989"/>
  </p:normalViewPr>
  <p:slideViewPr>
    <p:cSldViewPr snapToGrid="0">
      <p:cViewPr varScale="1">
        <p:scale>
          <a:sx n="109" d="100"/>
          <a:sy n="109" d="100"/>
        </p:scale>
        <p:origin x="208" y="376"/>
      </p:cViewPr>
      <p:guideLst>
        <p:guide pos="89"/>
        <p:guide orient="horz" pos="348"/>
        <p:guide orient="horz" pos="1013"/>
        <p:guide pos="727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0" d="100"/>
        <a:sy n="120" d="100"/>
      </p:scale>
      <p:origin x="0" y="-1800"/>
    </p:cViewPr>
  </p:sorterViewPr>
  <p:notesViewPr>
    <p:cSldViewPr snapToGrid="0">
      <p:cViewPr varScale="1">
        <p:scale>
          <a:sx n="85" d="100"/>
          <a:sy n="85" d="100"/>
        </p:scale>
        <p:origin x="3928" y="16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2878DF0-85D3-46A7-961D-9F810411796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15917D9-A915-4B96-951F-F9C12292A45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10A1590-4B1F-4275-8131-9135CA7B9D45}" type="datetimeFigureOut">
              <a:rPr lang="en-US" smtClean="0"/>
              <a:t>10/26/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559A85-807E-4EAF-90EB-4932539088D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5285413-A611-4E83-84BE-A6BA778A30B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C1F279-2A65-44B4-8079-DA1ABF0D111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18946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DDE889A-FFDD-4932-80FB-289354A1068E}" type="datetimeFigureOut">
              <a:rPr lang="en-ZA" smtClean="0"/>
              <a:t>2020/10/26</a:t>
            </a:fld>
            <a:endParaRPr lang="en-ZA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8A37A9-FE17-4661-A82C-7579276A3F74}" type="slidenum">
              <a:rPr lang="en-ZA" smtClean="0"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850066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8A37A9-FE17-4661-A82C-7579276A3F74}" type="slidenum">
              <a:rPr lang="en-ZA" smtClean="0"/>
              <a:t>1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8992980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20.xml"/><Relationship Id="rId7" Type="http://schemas.openxmlformats.org/officeDocument/2006/relationships/image" Target="../media/image3.png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4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5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6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7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9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0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1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2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3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4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5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6.bin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50.xml"/><Relationship Id="rId7" Type="http://schemas.openxmlformats.org/officeDocument/2006/relationships/image" Target="../media/image3.png"/><Relationship Id="rId2" Type="http://schemas.openxmlformats.org/officeDocument/2006/relationships/tags" Target="../tags/tag49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1.xml"/><Relationship Id="rId9" Type="http://schemas.microsoft.com/office/2007/relationships/hdphoto" Target="../media/hdphoto1.wdp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tiff"/><Relationship Id="rId3" Type="http://schemas.openxmlformats.org/officeDocument/2006/relationships/tags" Target="../tags/tag52.xml"/><Relationship Id="rId7" Type="http://schemas.openxmlformats.org/officeDocument/2006/relationships/image" Target="../media/image3.png"/><Relationship Id="rId2" Type="http://schemas.openxmlformats.org/officeDocument/2006/relationships/tags" Target="../tags/tag51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PRP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148364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506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D27C6C-F961-4DDE-91AE-F7106FF284A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259050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1067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781424" y="6254081"/>
            <a:ext cx="5120516" cy="380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ZA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ZA" sz="800" baseline="0" dirty="0">
                <a:solidFill>
                  <a:schemeClr val="bg1"/>
                </a:solidFill>
                <a:latin typeface="+mn-lt"/>
              </a:rPr>
              <a:t>Any use of this material without specific permission is strictly prohibited</a:t>
            </a:r>
            <a:endParaRPr lang="en-US" sz="800" baseline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8B36C022-4CD7-4AE3-9EB9-C2A7C0991460}"/>
              </a:ext>
            </a:extLst>
          </p:cNvPr>
          <p:cNvSpPr txBox="1"/>
          <p:nvPr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ZA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8" name="Working Draft" hidden="1">
            <a:extLst>
              <a:ext uri="{FF2B5EF4-FFF2-40B4-BE49-F238E27FC236}">
                <a16:creationId xmlns:a16="http://schemas.microsoft.com/office/drawing/2014/main" id="{1499DE9C-1052-42CC-A648-F322B77CCA05}"/>
              </a:ext>
            </a:extLst>
          </p:cNvPr>
          <p:cNvSpPr txBox="1"/>
          <p:nvPr/>
        </p:nvSpPr>
        <p:spPr>
          <a:xfrm>
            <a:off x="8064500" y="6350000"/>
            <a:ext cx="3214341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2020/03/08 22:31 W. Central Africa Standard Time</a:t>
            </a:r>
            <a:endParaRPr lang="en-ZA" sz="800" dirty="0">
              <a:solidFill>
                <a:srgbClr val="FFFFFF"/>
              </a:solidFill>
            </a:endParaRPr>
          </a:p>
        </p:txBody>
      </p:sp>
      <p:sp>
        <p:nvSpPr>
          <p:cNvPr id="9" name="Printed" hidden="1">
            <a:extLst>
              <a:ext uri="{FF2B5EF4-FFF2-40B4-BE49-F238E27FC236}">
                <a16:creationId xmlns:a16="http://schemas.microsoft.com/office/drawing/2014/main" id="{9598A30F-8710-45D8-9018-9E04EB86EFEC}"/>
              </a:ext>
            </a:extLst>
          </p:cNvPr>
          <p:cNvSpPr txBox="1"/>
          <p:nvPr/>
        </p:nvSpPr>
        <p:spPr>
          <a:xfrm>
            <a:off x="8064500" y="6477000"/>
            <a:ext cx="511679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ZA" sz="800" dirty="0">
                <a:solidFill>
                  <a:srgbClr val="FFFFFF"/>
                </a:solidFill>
              </a:rPr>
              <a:t>Printed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385FD51-328E-4DE1-9A7D-6F0F5AA58681}"/>
              </a:ext>
            </a:extLst>
          </p:cNvPr>
          <p:cNvGrpSpPr/>
          <p:nvPr userDrawn="1"/>
        </p:nvGrpSpPr>
        <p:grpSpPr>
          <a:xfrm>
            <a:off x="-1" y="-12140"/>
            <a:ext cx="11949114" cy="6745790"/>
            <a:chOff x="-1" y="-12140"/>
            <a:chExt cx="11949114" cy="6745790"/>
          </a:xfrm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2D408A2C-9D03-49DA-BC5B-E92FDF580CD0}"/>
                </a:ext>
              </a:extLst>
            </p:cNvPr>
            <p:cNvSpPr/>
            <p:nvPr/>
          </p:nvSpPr>
          <p:spPr>
            <a:xfrm flipH="1">
              <a:off x="-1" y="-12140"/>
              <a:ext cx="11949113" cy="6745790"/>
            </a:xfrm>
            <a:custGeom>
              <a:avLst/>
              <a:gdLst>
                <a:gd name="connsiteX0" fmla="*/ 114300 w 6057900"/>
                <a:gd name="connsiteY0" fmla="*/ 0 h 7442200"/>
                <a:gd name="connsiteX1" fmla="*/ 6057900 w 6057900"/>
                <a:gd name="connsiteY1" fmla="*/ 7442200 h 7442200"/>
                <a:gd name="connsiteX2" fmla="*/ 0 w 6057900"/>
                <a:gd name="connsiteY2" fmla="*/ 7442200 h 7442200"/>
                <a:gd name="connsiteX3" fmla="*/ 114300 w 6057900"/>
                <a:gd name="connsiteY3" fmla="*/ 0 h 7442200"/>
                <a:gd name="connsiteX0" fmla="*/ 14509 w 6057900"/>
                <a:gd name="connsiteY0" fmla="*/ 0 h 7442200"/>
                <a:gd name="connsiteX1" fmla="*/ 6057900 w 6057900"/>
                <a:gd name="connsiteY1" fmla="*/ 7442200 h 7442200"/>
                <a:gd name="connsiteX2" fmla="*/ 0 w 6057900"/>
                <a:gd name="connsiteY2" fmla="*/ 7442200 h 7442200"/>
                <a:gd name="connsiteX3" fmla="*/ 14509 w 6057900"/>
                <a:gd name="connsiteY3" fmla="*/ 0 h 7442200"/>
                <a:gd name="connsiteX0" fmla="*/ 1113 w 6062114"/>
                <a:gd name="connsiteY0" fmla="*/ 0 h 7476655"/>
                <a:gd name="connsiteX1" fmla="*/ 6062114 w 6062114"/>
                <a:gd name="connsiteY1" fmla="*/ 7476655 h 7476655"/>
                <a:gd name="connsiteX2" fmla="*/ 4214 w 6062114"/>
                <a:gd name="connsiteY2" fmla="*/ 7476655 h 7476655"/>
                <a:gd name="connsiteX3" fmla="*/ 1113 w 6062114"/>
                <a:gd name="connsiteY3" fmla="*/ 0 h 7476655"/>
                <a:gd name="connsiteX0" fmla="*/ 1113 w 6062114"/>
                <a:gd name="connsiteY0" fmla="*/ 0 h 7476655"/>
                <a:gd name="connsiteX1" fmla="*/ 3228285 w 6062114"/>
                <a:gd name="connsiteY1" fmla="*/ 4069980 h 7476655"/>
                <a:gd name="connsiteX2" fmla="*/ 6062114 w 6062114"/>
                <a:gd name="connsiteY2" fmla="*/ 7476655 h 7476655"/>
                <a:gd name="connsiteX3" fmla="*/ 4214 w 6062114"/>
                <a:gd name="connsiteY3" fmla="*/ 7476655 h 7476655"/>
                <a:gd name="connsiteX4" fmla="*/ 1113 w 6062114"/>
                <a:gd name="connsiteY4" fmla="*/ 0 h 7476655"/>
                <a:gd name="connsiteX0" fmla="*/ 1113 w 21638234"/>
                <a:gd name="connsiteY0" fmla="*/ 0 h 7476655"/>
                <a:gd name="connsiteX1" fmla="*/ 21638234 w 21638234"/>
                <a:gd name="connsiteY1" fmla="*/ 32302 h 7476655"/>
                <a:gd name="connsiteX2" fmla="*/ 6062114 w 21638234"/>
                <a:gd name="connsiteY2" fmla="*/ 7476655 h 7476655"/>
                <a:gd name="connsiteX3" fmla="*/ 4214 w 21638234"/>
                <a:gd name="connsiteY3" fmla="*/ 7476655 h 7476655"/>
                <a:gd name="connsiteX4" fmla="*/ 1113 w 21638234"/>
                <a:gd name="connsiteY4" fmla="*/ 0 h 7476655"/>
                <a:gd name="connsiteX0" fmla="*/ 1113 w 21492815"/>
                <a:gd name="connsiteY0" fmla="*/ 0 h 7476655"/>
                <a:gd name="connsiteX1" fmla="*/ 21492815 w 21492815"/>
                <a:gd name="connsiteY1" fmla="*/ 64604 h 7476655"/>
                <a:gd name="connsiteX2" fmla="*/ 6062114 w 21492815"/>
                <a:gd name="connsiteY2" fmla="*/ 7476655 h 7476655"/>
                <a:gd name="connsiteX3" fmla="*/ 4214 w 21492815"/>
                <a:gd name="connsiteY3" fmla="*/ 7476655 h 7476655"/>
                <a:gd name="connsiteX4" fmla="*/ 1113 w 21492815"/>
                <a:gd name="connsiteY4" fmla="*/ 0 h 7476655"/>
                <a:gd name="connsiteX0" fmla="*/ 1113 w 21492815"/>
                <a:gd name="connsiteY0" fmla="*/ 0 h 7476655"/>
                <a:gd name="connsiteX1" fmla="*/ 21492815 w 21492815"/>
                <a:gd name="connsiteY1" fmla="*/ 32302 h 7476655"/>
                <a:gd name="connsiteX2" fmla="*/ 6062114 w 21492815"/>
                <a:gd name="connsiteY2" fmla="*/ 7476655 h 7476655"/>
                <a:gd name="connsiteX3" fmla="*/ 4214 w 21492815"/>
                <a:gd name="connsiteY3" fmla="*/ 7476655 h 7476655"/>
                <a:gd name="connsiteX4" fmla="*/ 1113 w 21492815"/>
                <a:gd name="connsiteY4" fmla="*/ 0 h 7476655"/>
                <a:gd name="connsiteX0" fmla="*/ 84153 w 21575855"/>
                <a:gd name="connsiteY0" fmla="*/ 0 h 17910017"/>
                <a:gd name="connsiteX1" fmla="*/ 21575855 w 21575855"/>
                <a:gd name="connsiteY1" fmla="*/ 32302 h 17910017"/>
                <a:gd name="connsiteX2" fmla="*/ 6145154 w 21575855"/>
                <a:gd name="connsiteY2" fmla="*/ 7476655 h 17910017"/>
                <a:gd name="connsiteX3" fmla="*/ 0 w 21575855"/>
                <a:gd name="connsiteY3" fmla="*/ 17910017 h 17910017"/>
                <a:gd name="connsiteX4" fmla="*/ 84153 w 21575855"/>
                <a:gd name="connsiteY4" fmla="*/ 0 h 17910017"/>
                <a:gd name="connsiteX0" fmla="*/ 84153 w 21588569"/>
                <a:gd name="connsiteY0" fmla="*/ 0 h 17910017"/>
                <a:gd name="connsiteX1" fmla="*/ 21575855 w 21588569"/>
                <a:gd name="connsiteY1" fmla="*/ 32302 h 17910017"/>
                <a:gd name="connsiteX2" fmla="*/ 21588569 w 21588569"/>
                <a:gd name="connsiteY2" fmla="*/ 17910017 h 17910017"/>
                <a:gd name="connsiteX3" fmla="*/ 0 w 21588569"/>
                <a:gd name="connsiteY3" fmla="*/ 17910017 h 17910017"/>
                <a:gd name="connsiteX4" fmla="*/ 84153 w 21588569"/>
                <a:gd name="connsiteY4" fmla="*/ 0 h 17910017"/>
                <a:gd name="connsiteX0" fmla="*/ 84153 w 21675819"/>
                <a:gd name="connsiteY0" fmla="*/ 0 h 17910017"/>
                <a:gd name="connsiteX1" fmla="*/ 21575855 w 21675819"/>
                <a:gd name="connsiteY1" fmla="*/ 32302 h 17910017"/>
                <a:gd name="connsiteX2" fmla="*/ 21675819 w 21675819"/>
                <a:gd name="connsiteY2" fmla="*/ 17910017 h 17910017"/>
                <a:gd name="connsiteX3" fmla="*/ 0 w 21675819"/>
                <a:gd name="connsiteY3" fmla="*/ 17910017 h 17910017"/>
                <a:gd name="connsiteX4" fmla="*/ 84153 w 21675819"/>
                <a:gd name="connsiteY4" fmla="*/ 0 h 17910017"/>
                <a:gd name="connsiteX0" fmla="*/ 84153 w 21675819"/>
                <a:gd name="connsiteY0" fmla="*/ 0 h 17910017"/>
                <a:gd name="connsiteX1" fmla="*/ 21575855 w 21675819"/>
                <a:gd name="connsiteY1" fmla="*/ 32302 h 17910017"/>
                <a:gd name="connsiteX2" fmla="*/ 21675819 w 21675819"/>
                <a:gd name="connsiteY2" fmla="*/ 17910017 h 17910017"/>
                <a:gd name="connsiteX3" fmla="*/ 0 w 21675819"/>
                <a:gd name="connsiteY3" fmla="*/ 17910017 h 17910017"/>
                <a:gd name="connsiteX4" fmla="*/ 84153 w 21675819"/>
                <a:gd name="connsiteY4" fmla="*/ 0 h 17910017"/>
                <a:gd name="connsiteX0" fmla="*/ 84153 w 21617651"/>
                <a:gd name="connsiteY0" fmla="*/ 0 h 17910017"/>
                <a:gd name="connsiteX1" fmla="*/ 21575855 w 21617651"/>
                <a:gd name="connsiteY1" fmla="*/ 32302 h 17910017"/>
                <a:gd name="connsiteX2" fmla="*/ 21617651 w 21617651"/>
                <a:gd name="connsiteY2" fmla="*/ 17845415 h 17910017"/>
                <a:gd name="connsiteX3" fmla="*/ 0 w 21617651"/>
                <a:gd name="connsiteY3" fmla="*/ 17910017 h 17910017"/>
                <a:gd name="connsiteX4" fmla="*/ 84153 w 21617651"/>
                <a:gd name="connsiteY4" fmla="*/ 0 h 17910017"/>
                <a:gd name="connsiteX0" fmla="*/ 84153 w 21646735"/>
                <a:gd name="connsiteY0" fmla="*/ 0 h 17942319"/>
                <a:gd name="connsiteX1" fmla="*/ 21575855 w 21646735"/>
                <a:gd name="connsiteY1" fmla="*/ 32302 h 17942319"/>
                <a:gd name="connsiteX2" fmla="*/ 21646735 w 21646735"/>
                <a:gd name="connsiteY2" fmla="*/ 17942319 h 17942319"/>
                <a:gd name="connsiteX3" fmla="*/ 0 w 21646735"/>
                <a:gd name="connsiteY3" fmla="*/ 17910017 h 17942319"/>
                <a:gd name="connsiteX4" fmla="*/ 84153 w 21646735"/>
                <a:gd name="connsiteY4" fmla="*/ 0 h 17942319"/>
                <a:gd name="connsiteX0" fmla="*/ 84153 w 21646735"/>
                <a:gd name="connsiteY0" fmla="*/ 0 h 17942322"/>
                <a:gd name="connsiteX1" fmla="*/ 21575855 w 21646735"/>
                <a:gd name="connsiteY1" fmla="*/ 32302 h 17942322"/>
                <a:gd name="connsiteX2" fmla="*/ 21646735 w 21646735"/>
                <a:gd name="connsiteY2" fmla="*/ 17942322 h 17942322"/>
                <a:gd name="connsiteX3" fmla="*/ 0 w 21646735"/>
                <a:gd name="connsiteY3" fmla="*/ 17910017 h 17942322"/>
                <a:gd name="connsiteX4" fmla="*/ 84153 w 21646735"/>
                <a:gd name="connsiteY4" fmla="*/ 0 h 17942322"/>
                <a:gd name="connsiteX0" fmla="*/ 84153 w 21646735"/>
                <a:gd name="connsiteY0" fmla="*/ 0 h 17942322"/>
                <a:gd name="connsiteX1" fmla="*/ 21575855 w 21646735"/>
                <a:gd name="connsiteY1" fmla="*/ 32302 h 17942322"/>
                <a:gd name="connsiteX2" fmla="*/ 21646735 w 21646735"/>
                <a:gd name="connsiteY2" fmla="*/ 17942322 h 17942322"/>
                <a:gd name="connsiteX3" fmla="*/ 0 w 21646735"/>
                <a:gd name="connsiteY3" fmla="*/ 17910017 h 17942322"/>
                <a:gd name="connsiteX4" fmla="*/ 84153 w 21646735"/>
                <a:gd name="connsiteY4" fmla="*/ 0 h 17942322"/>
                <a:gd name="connsiteX0" fmla="*/ 84153 w 21617651"/>
                <a:gd name="connsiteY0" fmla="*/ 0 h 17942322"/>
                <a:gd name="connsiteX1" fmla="*/ 21575855 w 21617651"/>
                <a:gd name="connsiteY1" fmla="*/ 32302 h 17942322"/>
                <a:gd name="connsiteX2" fmla="*/ 21617651 w 21617651"/>
                <a:gd name="connsiteY2" fmla="*/ 17942322 h 17942322"/>
                <a:gd name="connsiteX3" fmla="*/ 0 w 21617651"/>
                <a:gd name="connsiteY3" fmla="*/ 17910017 h 17942322"/>
                <a:gd name="connsiteX4" fmla="*/ 84153 w 21617651"/>
                <a:gd name="connsiteY4" fmla="*/ 0 h 17942322"/>
                <a:gd name="connsiteX0" fmla="*/ 84153 w 21617651"/>
                <a:gd name="connsiteY0" fmla="*/ 0 h 17974621"/>
                <a:gd name="connsiteX1" fmla="*/ 21575855 w 21617651"/>
                <a:gd name="connsiteY1" fmla="*/ 32302 h 17974621"/>
                <a:gd name="connsiteX2" fmla="*/ 21617651 w 21617651"/>
                <a:gd name="connsiteY2" fmla="*/ 17974621 h 17974621"/>
                <a:gd name="connsiteX3" fmla="*/ 0 w 21617651"/>
                <a:gd name="connsiteY3" fmla="*/ 17910017 h 17974621"/>
                <a:gd name="connsiteX4" fmla="*/ 84153 w 21617651"/>
                <a:gd name="connsiteY4" fmla="*/ 0 h 17974621"/>
                <a:gd name="connsiteX0" fmla="*/ 84153 w 21617651"/>
                <a:gd name="connsiteY0" fmla="*/ 0 h 17974621"/>
                <a:gd name="connsiteX1" fmla="*/ 21575855 w 21617651"/>
                <a:gd name="connsiteY1" fmla="*/ 32302 h 17974621"/>
                <a:gd name="connsiteX2" fmla="*/ 21617651 w 21617651"/>
                <a:gd name="connsiteY2" fmla="*/ 17974621 h 17974621"/>
                <a:gd name="connsiteX3" fmla="*/ 0 w 21617651"/>
                <a:gd name="connsiteY3" fmla="*/ 17910017 h 17974621"/>
                <a:gd name="connsiteX4" fmla="*/ 84153 w 21617651"/>
                <a:gd name="connsiteY4" fmla="*/ 0 h 17974621"/>
                <a:gd name="connsiteX0" fmla="*/ 84153 w 21617651"/>
                <a:gd name="connsiteY0" fmla="*/ 64859 h 18039480"/>
                <a:gd name="connsiteX1" fmla="*/ 21575856 w 21617651"/>
                <a:gd name="connsiteY1" fmla="*/ 0 h 18039480"/>
                <a:gd name="connsiteX2" fmla="*/ 21617651 w 21617651"/>
                <a:gd name="connsiteY2" fmla="*/ 18039480 h 18039480"/>
                <a:gd name="connsiteX3" fmla="*/ 0 w 21617651"/>
                <a:gd name="connsiteY3" fmla="*/ 17974876 h 18039480"/>
                <a:gd name="connsiteX4" fmla="*/ 84153 w 21617651"/>
                <a:gd name="connsiteY4" fmla="*/ 64859 h 18039480"/>
                <a:gd name="connsiteX0" fmla="*/ 84153 w 21636807"/>
                <a:gd name="connsiteY0" fmla="*/ 32472 h 18007093"/>
                <a:gd name="connsiteX1" fmla="*/ 21634059 w 21636807"/>
                <a:gd name="connsiteY1" fmla="*/ 0 h 18007093"/>
                <a:gd name="connsiteX2" fmla="*/ 21617651 w 21636807"/>
                <a:gd name="connsiteY2" fmla="*/ 18007093 h 18007093"/>
                <a:gd name="connsiteX3" fmla="*/ 0 w 21636807"/>
                <a:gd name="connsiteY3" fmla="*/ 17942489 h 18007093"/>
                <a:gd name="connsiteX4" fmla="*/ 84153 w 21636807"/>
                <a:gd name="connsiteY4" fmla="*/ 32472 h 18007093"/>
                <a:gd name="connsiteX0" fmla="*/ 84153 w 21636807"/>
                <a:gd name="connsiteY0" fmla="*/ 32472 h 18007093"/>
                <a:gd name="connsiteX1" fmla="*/ 21634059 w 21636807"/>
                <a:gd name="connsiteY1" fmla="*/ 0 h 18007093"/>
                <a:gd name="connsiteX2" fmla="*/ 21617651 w 21636807"/>
                <a:gd name="connsiteY2" fmla="*/ 18007093 h 18007093"/>
                <a:gd name="connsiteX3" fmla="*/ 0 w 21636807"/>
                <a:gd name="connsiteY3" fmla="*/ 17942489 h 18007093"/>
                <a:gd name="connsiteX4" fmla="*/ 84153 w 21636807"/>
                <a:gd name="connsiteY4" fmla="*/ 32472 h 18007093"/>
                <a:gd name="connsiteX0" fmla="*/ 84153 w 21636807"/>
                <a:gd name="connsiteY0" fmla="*/ 32472 h 18007093"/>
                <a:gd name="connsiteX1" fmla="*/ 21634059 w 21636807"/>
                <a:gd name="connsiteY1" fmla="*/ 0 h 18007093"/>
                <a:gd name="connsiteX2" fmla="*/ 21617651 w 21636807"/>
                <a:gd name="connsiteY2" fmla="*/ 18007093 h 18007093"/>
                <a:gd name="connsiteX3" fmla="*/ 0 w 21636807"/>
                <a:gd name="connsiteY3" fmla="*/ 17942489 h 18007093"/>
                <a:gd name="connsiteX4" fmla="*/ 84153 w 21636807"/>
                <a:gd name="connsiteY4" fmla="*/ 32472 h 18007093"/>
                <a:gd name="connsiteX0" fmla="*/ 84153 w 21635827"/>
                <a:gd name="connsiteY0" fmla="*/ 32472 h 18007093"/>
                <a:gd name="connsiteX1" fmla="*/ 21634059 w 21635827"/>
                <a:gd name="connsiteY1" fmla="*/ 0 h 18007093"/>
                <a:gd name="connsiteX2" fmla="*/ 21588550 w 21635827"/>
                <a:gd name="connsiteY2" fmla="*/ 18007093 h 18007093"/>
                <a:gd name="connsiteX3" fmla="*/ 0 w 21635827"/>
                <a:gd name="connsiteY3" fmla="*/ 17942489 h 18007093"/>
                <a:gd name="connsiteX4" fmla="*/ 84153 w 21635827"/>
                <a:gd name="connsiteY4" fmla="*/ 32472 h 18007093"/>
                <a:gd name="connsiteX0" fmla="*/ 84153 w 21636807"/>
                <a:gd name="connsiteY0" fmla="*/ 32472 h 18007093"/>
                <a:gd name="connsiteX1" fmla="*/ 21634059 w 21636807"/>
                <a:gd name="connsiteY1" fmla="*/ 0 h 18007093"/>
                <a:gd name="connsiteX2" fmla="*/ 21617651 w 21636807"/>
                <a:gd name="connsiteY2" fmla="*/ 18007093 h 18007093"/>
                <a:gd name="connsiteX3" fmla="*/ 0 w 21636807"/>
                <a:gd name="connsiteY3" fmla="*/ 17942489 h 18007093"/>
                <a:gd name="connsiteX4" fmla="*/ 84153 w 21636807"/>
                <a:gd name="connsiteY4" fmla="*/ 32472 h 18007093"/>
                <a:gd name="connsiteX0" fmla="*/ 84153 w 21636807"/>
                <a:gd name="connsiteY0" fmla="*/ 32472 h 18007093"/>
                <a:gd name="connsiteX1" fmla="*/ 21634059 w 21636807"/>
                <a:gd name="connsiteY1" fmla="*/ 0 h 18007093"/>
                <a:gd name="connsiteX2" fmla="*/ 21617651 w 21636807"/>
                <a:gd name="connsiteY2" fmla="*/ 18007093 h 18007093"/>
                <a:gd name="connsiteX3" fmla="*/ 0 w 21636807"/>
                <a:gd name="connsiteY3" fmla="*/ 17974873 h 18007093"/>
                <a:gd name="connsiteX4" fmla="*/ 84153 w 21636807"/>
                <a:gd name="connsiteY4" fmla="*/ 32472 h 18007093"/>
                <a:gd name="connsiteX0" fmla="*/ 84153 w 21636807"/>
                <a:gd name="connsiteY0" fmla="*/ 32471 h 18007093"/>
                <a:gd name="connsiteX1" fmla="*/ 21634059 w 21636807"/>
                <a:gd name="connsiteY1" fmla="*/ 0 h 18007093"/>
                <a:gd name="connsiteX2" fmla="*/ 21617651 w 21636807"/>
                <a:gd name="connsiteY2" fmla="*/ 18007093 h 18007093"/>
                <a:gd name="connsiteX3" fmla="*/ 0 w 21636807"/>
                <a:gd name="connsiteY3" fmla="*/ 17974873 h 18007093"/>
                <a:gd name="connsiteX4" fmla="*/ 84153 w 21636807"/>
                <a:gd name="connsiteY4" fmla="*/ 32471 h 18007093"/>
                <a:gd name="connsiteX0" fmla="*/ 55054 w 21636807"/>
                <a:gd name="connsiteY0" fmla="*/ 32471 h 18007093"/>
                <a:gd name="connsiteX1" fmla="*/ 21634059 w 21636807"/>
                <a:gd name="connsiteY1" fmla="*/ 0 h 18007093"/>
                <a:gd name="connsiteX2" fmla="*/ 21617651 w 21636807"/>
                <a:gd name="connsiteY2" fmla="*/ 18007093 h 18007093"/>
                <a:gd name="connsiteX3" fmla="*/ 0 w 21636807"/>
                <a:gd name="connsiteY3" fmla="*/ 17974873 h 18007093"/>
                <a:gd name="connsiteX4" fmla="*/ 55054 w 21636807"/>
                <a:gd name="connsiteY4" fmla="*/ 32471 h 18007093"/>
                <a:gd name="connsiteX0" fmla="*/ 84155 w 21665908"/>
                <a:gd name="connsiteY0" fmla="*/ 32471 h 18007093"/>
                <a:gd name="connsiteX1" fmla="*/ 21663160 w 21665908"/>
                <a:gd name="connsiteY1" fmla="*/ 0 h 18007093"/>
                <a:gd name="connsiteX2" fmla="*/ 21646752 w 21665908"/>
                <a:gd name="connsiteY2" fmla="*/ 18007093 h 18007093"/>
                <a:gd name="connsiteX3" fmla="*/ 0 w 21665908"/>
                <a:gd name="connsiteY3" fmla="*/ 17974873 h 18007093"/>
                <a:gd name="connsiteX4" fmla="*/ 84155 w 21665908"/>
                <a:gd name="connsiteY4" fmla="*/ 32471 h 18007093"/>
                <a:gd name="connsiteX0" fmla="*/ 391 w 21582144"/>
                <a:gd name="connsiteY0" fmla="*/ 32471 h 18007093"/>
                <a:gd name="connsiteX1" fmla="*/ 21579396 w 21582144"/>
                <a:gd name="connsiteY1" fmla="*/ 0 h 18007093"/>
                <a:gd name="connsiteX2" fmla="*/ 21562988 w 21582144"/>
                <a:gd name="connsiteY2" fmla="*/ 18007093 h 18007093"/>
                <a:gd name="connsiteX3" fmla="*/ 32639 w 21582144"/>
                <a:gd name="connsiteY3" fmla="*/ 17877714 h 18007093"/>
                <a:gd name="connsiteX4" fmla="*/ 391 w 21582144"/>
                <a:gd name="connsiteY4" fmla="*/ 32471 h 18007093"/>
                <a:gd name="connsiteX0" fmla="*/ 391 w 21582144"/>
                <a:gd name="connsiteY0" fmla="*/ 32471 h 18039648"/>
                <a:gd name="connsiteX1" fmla="*/ 21579396 w 21582144"/>
                <a:gd name="connsiteY1" fmla="*/ 0 h 18039648"/>
                <a:gd name="connsiteX2" fmla="*/ 21562988 w 21582144"/>
                <a:gd name="connsiteY2" fmla="*/ 18007093 h 18039648"/>
                <a:gd name="connsiteX3" fmla="*/ 32639 w 21582144"/>
                <a:gd name="connsiteY3" fmla="*/ 18039648 h 18039648"/>
                <a:gd name="connsiteX4" fmla="*/ 391 w 21582144"/>
                <a:gd name="connsiteY4" fmla="*/ 32471 h 18039648"/>
                <a:gd name="connsiteX0" fmla="*/ 391 w 21582144"/>
                <a:gd name="connsiteY0" fmla="*/ 32471 h 18039648"/>
                <a:gd name="connsiteX1" fmla="*/ 21579396 w 21582144"/>
                <a:gd name="connsiteY1" fmla="*/ 0 h 18039648"/>
                <a:gd name="connsiteX2" fmla="*/ 21562988 w 21582144"/>
                <a:gd name="connsiteY2" fmla="*/ 18007093 h 18039648"/>
                <a:gd name="connsiteX3" fmla="*/ 32639 w 21582144"/>
                <a:gd name="connsiteY3" fmla="*/ 18039648 h 18039648"/>
                <a:gd name="connsiteX4" fmla="*/ 391 w 21582144"/>
                <a:gd name="connsiteY4" fmla="*/ 32471 h 18039648"/>
                <a:gd name="connsiteX0" fmla="*/ 391 w 21582144"/>
                <a:gd name="connsiteY0" fmla="*/ 32471 h 18039648"/>
                <a:gd name="connsiteX1" fmla="*/ 21579396 w 21582144"/>
                <a:gd name="connsiteY1" fmla="*/ 0 h 18039648"/>
                <a:gd name="connsiteX2" fmla="*/ 21562988 w 21582144"/>
                <a:gd name="connsiteY2" fmla="*/ 18007093 h 18039648"/>
                <a:gd name="connsiteX3" fmla="*/ 32639 w 21582144"/>
                <a:gd name="connsiteY3" fmla="*/ 18039648 h 18039648"/>
                <a:gd name="connsiteX4" fmla="*/ 391 w 21582144"/>
                <a:gd name="connsiteY4" fmla="*/ 32471 h 18039648"/>
                <a:gd name="connsiteX0" fmla="*/ 1109 w 21582862"/>
                <a:gd name="connsiteY0" fmla="*/ 32471 h 18039648"/>
                <a:gd name="connsiteX1" fmla="*/ 21580114 w 21582862"/>
                <a:gd name="connsiteY1" fmla="*/ 0 h 18039648"/>
                <a:gd name="connsiteX2" fmla="*/ 21563706 w 21582862"/>
                <a:gd name="connsiteY2" fmla="*/ 18007093 h 18039648"/>
                <a:gd name="connsiteX3" fmla="*/ 4258 w 21582862"/>
                <a:gd name="connsiteY3" fmla="*/ 18039648 h 18039648"/>
                <a:gd name="connsiteX4" fmla="*/ 1109 w 21582862"/>
                <a:gd name="connsiteY4" fmla="*/ 32471 h 18039648"/>
                <a:gd name="connsiteX0" fmla="*/ 25953 w 21578604"/>
                <a:gd name="connsiteY0" fmla="*/ 32471 h 18039648"/>
                <a:gd name="connsiteX1" fmla="*/ 21575856 w 21578604"/>
                <a:gd name="connsiteY1" fmla="*/ 0 h 18039648"/>
                <a:gd name="connsiteX2" fmla="*/ 21559448 w 21578604"/>
                <a:gd name="connsiteY2" fmla="*/ 18007093 h 18039648"/>
                <a:gd name="connsiteX3" fmla="*/ 0 w 21578604"/>
                <a:gd name="connsiteY3" fmla="*/ 18039648 h 18039648"/>
                <a:gd name="connsiteX4" fmla="*/ 25953 w 21578604"/>
                <a:gd name="connsiteY4" fmla="*/ 32471 h 18039648"/>
                <a:gd name="connsiteX0" fmla="*/ 25953 w 21578604"/>
                <a:gd name="connsiteY0" fmla="*/ 32471 h 18039648"/>
                <a:gd name="connsiteX1" fmla="*/ 21575856 w 21578604"/>
                <a:gd name="connsiteY1" fmla="*/ 0 h 18039648"/>
                <a:gd name="connsiteX2" fmla="*/ 21559448 w 21578604"/>
                <a:gd name="connsiteY2" fmla="*/ 18007093 h 18039648"/>
                <a:gd name="connsiteX3" fmla="*/ 0 w 21578604"/>
                <a:gd name="connsiteY3" fmla="*/ 18039648 h 18039648"/>
                <a:gd name="connsiteX4" fmla="*/ 25953 w 21578604"/>
                <a:gd name="connsiteY4" fmla="*/ 32471 h 18039648"/>
                <a:gd name="connsiteX0" fmla="*/ 25953 w 21578604"/>
                <a:gd name="connsiteY0" fmla="*/ 84 h 18039648"/>
                <a:gd name="connsiteX1" fmla="*/ 21575856 w 21578604"/>
                <a:gd name="connsiteY1" fmla="*/ 0 h 18039648"/>
                <a:gd name="connsiteX2" fmla="*/ 21559448 w 21578604"/>
                <a:gd name="connsiteY2" fmla="*/ 18007093 h 18039648"/>
                <a:gd name="connsiteX3" fmla="*/ 0 w 21578604"/>
                <a:gd name="connsiteY3" fmla="*/ 18039648 h 18039648"/>
                <a:gd name="connsiteX4" fmla="*/ 25953 w 21578604"/>
                <a:gd name="connsiteY4" fmla="*/ 84 h 18039648"/>
                <a:gd name="connsiteX0" fmla="*/ 1110 w 21582860"/>
                <a:gd name="connsiteY0" fmla="*/ 84 h 18039648"/>
                <a:gd name="connsiteX1" fmla="*/ 21580112 w 21582860"/>
                <a:gd name="connsiteY1" fmla="*/ 0 h 18039648"/>
                <a:gd name="connsiteX2" fmla="*/ 21563704 w 21582860"/>
                <a:gd name="connsiteY2" fmla="*/ 18007093 h 18039648"/>
                <a:gd name="connsiteX3" fmla="*/ 4256 w 21582860"/>
                <a:gd name="connsiteY3" fmla="*/ 18039648 h 18039648"/>
                <a:gd name="connsiteX4" fmla="*/ 1110 w 21582860"/>
                <a:gd name="connsiteY4" fmla="*/ 84 h 18039648"/>
                <a:gd name="connsiteX0" fmla="*/ 1109 w 21582860"/>
                <a:gd name="connsiteY0" fmla="*/ 84 h 18039648"/>
                <a:gd name="connsiteX1" fmla="*/ 21580112 w 21582860"/>
                <a:gd name="connsiteY1" fmla="*/ 0 h 18039648"/>
                <a:gd name="connsiteX2" fmla="*/ 21563704 w 21582860"/>
                <a:gd name="connsiteY2" fmla="*/ 18007093 h 18039648"/>
                <a:gd name="connsiteX3" fmla="*/ 4256 w 21582860"/>
                <a:gd name="connsiteY3" fmla="*/ 18039648 h 18039648"/>
                <a:gd name="connsiteX4" fmla="*/ 1109 w 21582860"/>
                <a:gd name="connsiteY4" fmla="*/ 84 h 18039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582860" h="18039648">
                  <a:moveTo>
                    <a:pt x="1109" y="84"/>
                  </a:moveTo>
                  <a:lnTo>
                    <a:pt x="21580112" y="0"/>
                  </a:lnTo>
                  <a:cubicBezTo>
                    <a:pt x="21594044" y="6013160"/>
                    <a:pt x="21549772" y="11993933"/>
                    <a:pt x="21563704" y="18007093"/>
                  </a:cubicBezTo>
                  <a:lnTo>
                    <a:pt x="4256" y="18039648"/>
                  </a:lnTo>
                  <a:cubicBezTo>
                    <a:pt x="9092" y="15558915"/>
                    <a:pt x="-3727" y="2480817"/>
                    <a:pt x="1109" y="84"/>
                  </a:cubicBezTo>
                  <a:close/>
                </a:path>
              </a:pathLst>
            </a:custGeom>
            <a:gradFill>
              <a:gsLst>
                <a:gs pos="0">
                  <a:schemeClr val="accent3">
                    <a:lumMod val="50000"/>
                  </a:schemeClr>
                </a:gs>
                <a:gs pos="0">
                  <a:schemeClr val="tx2"/>
                </a:gs>
                <a:gs pos="100000">
                  <a:schemeClr val="accent3"/>
                </a:gs>
              </a:gsLst>
              <a:lin ang="16200000" scaled="1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96203"/>
              <a:endParaRPr lang="en-GB" sz="1568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BFD2879B-A6B6-4CA1-B81A-616B5F81C8A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rcRect r="27807"/>
            <a:stretch>
              <a:fillRect/>
            </a:stretch>
          </p:blipFill>
          <p:spPr>
            <a:xfrm>
              <a:off x="2969353" y="392068"/>
              <a:ext cx="6504920" cy="6210967"/>
            </a:xfrm>
            <a:custGeom>
              <a:avLst/>
              <a:gdLst>
                <a:gd name="connsiteX0" fmla="*/ 0 w 5994518"/>
                <a:gd name="connsiteY0" fmla="*/ 0 h 6242845"/>
                <a:gd name="connsiteX1" fmla="*/ 26078 w 5994518"/>
                <a:gd name="connsiteY1" fmla="*/ 0 h 6242845"/>
                <a:gd name="connsiteX2" fmla="*/ 5994518 w 5994518"/>
                <a:gd name="connsiteY2" fmla="*/ 6242845 h 6242845"/>
                <a:gd name="connsiteX3" fmla="*/ 0 w 5994518"/>
                <a:gd name="connsiteY3" fmla="*/ 6242845 h 6242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94518" h="6242845">
                  <a:moveTo>
                    <a:pt x="0" y="0"/>
                  </a:moveTo>
                  <a:lnTo>
                    <a:pt x="26078" y="0"/>
                  </a:lnTo>
                  <a:lnTo>
                    <a:pt x="5994518" y="6242845"/>
                  </a:lnTo>
                  <a:lnTo>
                    <a:pt x="0" y="6242845"/>
                  </a:lnTo>
                  <a:close/>
                </a:path>
              </a:pathLst>
            </a:cu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5EC4A094-B6BE-4855-B677-15F91C48CB83}"/>
                </a:ext>
              </a:extLst>
            </p:cNvPr>
            <p:cNvPicPr>
              <a:picLocks/>
            </p:cNvPicPr>
            <p:nvPr/>
          </p:nvPicPr>
          <p:blipFill rotWithShape="1">
            <a:blip r:embed="rId8">
              <a:duotone>
                <a:prstClr val="black"/>
                <a:schemeClr val="accent4">
                  <a:tint val="45000"/>
                  <a:satMod val="400000"/>
                </a:schemeClr>
              </a:duotone>
            </a:blip>
            <a:srcRect l="3521" r="3521"/>
            <a:stretch/>
          </p:blipFill>
          <p:spPr>
            <a:xfrm>
              <a:off x="2919535" y="0"/>
              <a:ext cx="9029578" cy="6294920"/>
            </a:xfrm>
            <a:custGeom>
              <a:avLst/>
              <a:gdLst>
                <a:gd name="connsiteX0" fmla="*/ 0 w 9029578"/>
                <a:gd name="connsiteY0" fmla="*/ 0 h 6294920"/>
                <a:gd name="connsiteX1" fmla="*/ 9029578 w 9029578"/>
                <a:gd name="connsiteY1" fmla="*/ 0 h 6294920"/>
                <a:gd name="connsiteX2" fmla="*/ 9029578 w 9029578"/>
                <a:gd name="connsiteY2" fmla="*/ 6282810 h 6294920"/>
                <a:gd name="connsiteX3" fmla="*/ 6752357 w 9029578"/>
                <a:gd name="connsiteY3" fmla="*/ 6294920 h 6294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29578" h="6294920">
                  <a:moveTo>
                    <a:pt x="0" y="0"/>
                  </a:moveTo>
                  <a:lnTo>
                    <a:pt x="9029578" y="0"/>
                  </a:lnTo>
                  <a:lnTo>
                    <a:pt x="9029578" y="6282810"/>
                  </a:lnTo>
                  <a:lnTo>
                    <a:pt x="6752357" y="6294920"/>
                  </a:lnTo>
                  <a:close/>
                </a:path>
              </a:pathLst>
            </a:custGeom>
          </p:spPr>
        </p:pic>
      </p:grpSp>
      <p:sp>
        <p:nvSpPr>
          <p:cNvPr id="19" name="Title">
            <a:extLst>
              <a:ext uri="{FF2B5EF4-FFF2-40B4-BE49-F238E27FC236}">
                <a16:creationId xmlns:a16="http://schemas.microsoft.com/office/drawing/2014/main" id="{BEC54C09-856D-452F-BBC5-9BC6E4AAF708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494514" y="2606460"/>
            <a:ext cx="4100346" cy="9651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x-none" sz="3136" b="1" noProof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 algn="l" defTabSz="877533" rtl="0" eaLnBrk="1" fontAlgn="base" hangingPunct="1">
              <a:spcBef>
                <a:spcPct val="0"/>
              </a:spcBef>
              <a:spcAft>
                <a:spcPct val="0"/>
              </a:spcAft>
              <a:buNone/>
              <a:tabLst>
                <a:tab pos="264504" algn="l"/>
              </a:tabLst>
            </a:pPr>
            <a:r>
              <a:rPr lang="en-US" noProof="0" dirty="0"/>
              <a:t>Click to edit presentation title</a:t>
            </a:r>
          </a:p>
        </p:txBody>
      </p:sp>
      <p:sp>
        <p:nvSpPr>
          <p:cNvPr id="20" name="Subtitle">
            <a:extLst>
              <a:ext uri="{FF2B5EF4-FFF2-40B4-BE49-F238E27FC236}">
                <a16:creationId xmlns:a16="http://schemas.microsoft.com/office/drawing/2014/main" id="{22C7B8B0-5FE8-4813-91CD-BC0F7278C845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 bwMode="auto">
          <a:xfrm>
            <a:off x="494514" y="3632446"/>
            <a:ext cx="4100346" cy="271485"/>
          </a:xfrm>
          <a:prstGeom prst="rect">
            <a:avLst/>
          </a:prstGeom>
          <a:solidFill>
            <a:schemeClr val="bg1">
              <a:alpha val="30000"/>
            </a:schemeClr>
          </a:solidFill>
        </p:spPr>
        <p:txBody>
          <a:bodyPr vert="horz" wrap="square" lIns="0" tIns="0" rIns="0" bIns="0" rtlCol="0">
            <a:spAutoFit/>
          </a:bodyPr>
          <a:lstStyle>
            <a:lvl1pPr>
              <a:defRPr lang="x-none" sz="1764" cap="none" noProof="0" dirty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indent="0" algn="l" defTabSz="87753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None/>
            </a:pPr>
            <a:r>
              <a:rPr lang="en-US" noProof="0" dirty="0"/>
              <a:t>Click to edit presentation subtitle</a:t>
            </a:r>
          </a:p>
        </p:txBody>
      </p:sp>
      <p:sp>
        <p:nvSpPr>
          <p:cNvPr id="21" name="doc id">
            <a:extLst>
              <a:ext uri="{FF2B5EF4-FFF2-40B4-BE49-F238E27FC236}">
                <a16:creationId xmlns:a16="http://schemas.microsoft.com/office/drawing/2014/main" id="{B77C1644-D4CF-492B-85C4-12A5D691C8AD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259050" y="36513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784" baseline="0" dirty="0">
              <a:solidFill>
                <a:srgbClr val="FFFFFF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732743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1F080BD-8B67-467F-8DB9-EC3978ACC3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53642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56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80888AD-736A-49C6-B26D-D388728CBD5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434976" y="230189"/>
            <a:ext cx="11027432" cy="369332"/>
          </a:xfrm>
        </p:spPr>
        <p:txBody>
          <a:bodyPr/>
          <a:lstStyle>
            <a:lvl1pPr>
              <a:defRPr sz="24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E8F7E0FC-D1AE-7B46-8A95-1F7E33A7B1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09038" y="6126163"/>
            <a:ext cx="2689225" cy="3317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314921-4E57-464F-A582-181EFAE3A0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03091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1F080BD-8B67-467F-8DB9-EC3978ACC3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7950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56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1F080BD-8B67-467F-8DB9-EC3978ACC3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80888AD-736A-49C6-B26D-D388728CBD5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AD461C8-168E-744C-90E1-FE63031D404B}"/>
              </a:ext>
            </a:extLst>
          </p:cNvPr>
          <p:cNvSpPr/>
          <p:nvPr userDrawn="1"/>
        </p:nvSpPr>
        <p:spPr>
          <a:xfrm>
            <a:off x="-1" y="1589"/>
            <a:ext cx="11949113" cy="6721475"/>
          </a:xfrm>
          <a:prstGeom prst="rect">
            <a:avLst/>
          </a:prstGeom>
          <a:solidFill>
            <a:srgbClr val="176739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434976" y="230189"/>
            <a:ext cx="11063288" cy="369332"/>
          </a:xfrm>
        </p:spPr>
        <p:txBody>
          <a:bodyPr/>
          <a:lstStyle>
            <a:lvl1pPr>
              <a:defRPr sz="2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DA1F1E05-815A-2C4B-9BCB-B5D0CF2118C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09038" y="6126163"/>
            <a:ext cx="2689225" cy="3317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314921-4E57-464F-A582-181EFAE3A0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80985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BG Big Statement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17449" y="3360738"/>
            <a:ext cx="10715391" cy="289396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ctr" defTabSz="896203" rtl="0" eaLnBrk="1" fontAlgn="auto" latinLnBrk="0" hangingPunct="1">
              <a:lnSpc>
                <a:spcPts val="5881"/>
              </a:lnSpc>
              <a:spcBef>
                <a:spcPts val="0"/>
              </a:spcBef>
              <a:spcAft>
                <a:spcPts val="0"/>
              </a:spcAft>
              <a:defRPr lang="en-US" sz="5293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350899" y="5016002"/>
            <a:ext cx="2688590" cy="9501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686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ample Slides_16x9.pptx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2D09974-DBCC-744F-A3DE-EF677CF9D6F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r="27807"/>
          <a:stretch>
            <a:fillRect/>
          </a:stretch>
        </p:blipFill>
        <p:spPr>
          <a:xfrm flipH="1" flipV="1">
            <a:off x="7391399" y="-301404"/>
            <a:ext cx="4446305" cy="4245379"/>
          </a:xfrm>
          <a:custGeom>
            <a:avLst/>
            <a:gdLst>
              <a:gd name="connsiteX0" fmla="*/ 0 w 5994518"/>
              <a:gd name="connsiteY0" fmla="*/ 0 h 6242845"/>
              <a:gd name="connsiteX1" fmla="*/ 26078 w 5994518"/>
              <a:gd name="connsiteY1" fmla="*/ 0 h 6242845"/>
              <a:gd name="connsiteX2" fmla="*/ 5994518 w 5994518"/>
              <a:gd name="connsiteY2" fmla="*/ 6242845 h 6242845"/>
              <a:gd name="connsiteX3" fmla="*/ 0 w 5994518"/>
              <a:gd name="connsiteY3" fmla="*/ 6242845 h 6242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94518" h="6242845">
                <a:moveTo>
                  <a:pt x="0" y="0"/>
                </a:moveTo>
                <a:lnTo>
                  <a:pt x="26078" y="0"/>
                </a:lnTo>
                <a:lnTo>
                  <a:pt x="5994518" y="6242845"/>
                </a:lnTo>
                <a:lnTo>
                  <a:pt x="0" y="6242845"/>
                </a:lnTo>
                <a:close/>
              </a:path>
            </a:pathLst>
          </a:custGeom>
        </p:spPr>
      </p:pic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50D64894-A934-7147-A9D3-34B0AE4107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09038" y="6126163"/>
            <a:ext cx="2689225" cy="3317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314921-4E57-464F-A582-181EFAE3A0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33899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PRP Big Statement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17449" y="3360738"/>
            <a:ext cx="10715391" cy="289396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ctr" defTabSz="896203" rtl="0" eaLnBrk="1" fontAlgn="auto" latinLnBrk="0" hangingPunct="1">
              <a:lnSpc>
                <a:spcPts val="5881"/>
              </a:lnSpc>
              <a:spcBef>
                <a:spcPts val="0"/>
              </a:spcBef>
              <a:spcAft>
                <a:spcPts val="0"/>
              </a:spcAft>
              <a:defRPr lang="en-US" sz="5293" kern="1200" baseline="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350899" y="5016002"/>
            <a:ext cx="2688590" cy="9501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686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ample Slides_16x9.pptx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1F814A6-2652-4E43-A4CF-A29E57DE099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30000"/>
          </a:blip>
          <a:srcRect r="27807"/>
          <a:stretch>
            <a:fillRect/>
          </a:stretch>
        </p:blipFill>
        <p:spPr>
          <a:xfrm flipH="1" flipV="1">
            <a:off x="7391399" y="-301404"/>
            <a:ext cx="4446305" cy="4245379"/>
          </a:xfrm>
          <a:custGeom>
            <a:avLst/>
            <a:gdLst>
              <a:gd name="connsiteX0" fmla="*/ 0 w 5994518"/>
              <a:gd name="connsiteY0" fmla="*/ 0 h 6242845"/>
              <a:gd name="connsiteX1" fmla="*/ 26078 w 5994518"/>
              <a:gd name="connsiteY1" fmla="*/ 0 h 6242845"/>
              <a:gd name="connsiteX2" fmla="*/ 5994518 w 5994518"/>
              <a:gd name="connsiteY2" fmla="*/ 6242845 h 6242845"/>
              <a:gd name="connsiteX3" fmla="*/ 0 w 5994518"/>
              <a:gd name="connsiteY3" fmla="*/ 6242845 h 6242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94518" h="6242845">
                <a:moveTo>
                  <a:pt x="0" y="0"/>
                </a:moveTo>
                <a:lnTo>
                  <a:pt x="26078" y="0"/>
                </a:lnTo>
                <a:lnTo>
                  <a:pt x="5994518" y="6242845"/>
                </a:lnTo>
                <a:lnTo>
                  <a:pt x="0" y="6242845"/>
                </a:lnTo>
                <a:close/>
              </a:path>
            </a:pathLst>
          </a:custGeom>
        </p:spPr>
      </p:pic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2A2DBAEB-6EF8-0F48-8BB1-EB58737391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09038" y="6126163"/>
            <a:ext cx="2689225" cy="3317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314921-4E57-464F-A582-181EFAE3A0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28732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PRP green slice (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5F9012E2-28B6-E844-8CB5-A2A2EAD45C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6655876"/>
              </p:ext>
            </p:ext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109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5F9012E2-28B6-E844-8CB5-A2A2EAD45C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9ABA51E-D23F-D54C-8533-640229D432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4799" y="239713"/>
            <a:ext cx="7383463" cy="38893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23EA75F-CFCD-6449-8924-88F53FF27453}"/>
              </a:ext>
            </a:extLst>
          </p:cNvPr>
          <p:cNvSpPr/>
          <p:nvPr userDrawn="1"/>
        </p:nvSpPr>
        <p:spPr>
          <a:xfrm>
            <a:off x="-207818" y="0"/>
            <a:ext cx="3979481" cy="6721475"/>
          </a:xfrm>
          <a:prstGeom prst="rect">
            <a:avLst/>
          </a:prstGeom>
          <a:solidFill>
            <a:schemeClr val="tx2"/>
          </a:solidFill>
          <a:ln>
            <a:solidFill>
              <a:srgbClr val="1767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68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337C8C27-3231-CA42-9AFB-C37B670368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4975" y="2812406"/>
            <a:ext cx="2726184" cy="1096663"/>
          </a:xfrm>
        </p:spPr>
        <p:txBody>
          <a:bodyPr>
            <a:normAutofit/>
          </a:bodyPr>
          <a:lstStyle>
            <a:lvl1pPr marL="0" indent="0" algn="l">
              <a:buNone/>
              <a:defRPr sz="3136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0EB97800-0343-2141-BC38-8B2FD231D6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09038" y="6126163"/>
            <a:ext cx="2689225" cy="3317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314921-4E57-464F-A582-181EFAE3A0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22186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PRP green slice (1/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5F9012E2-28B6-E844-8CB5-A2A2EAD45C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3096009"/>
              </p:ext>
            </p:ext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133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5F9012E2-28B6-E844-8CB5-A2A2EAD45C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C79DA457-2224-F44F-B707-1E285E02F316}"/>
              </a:ext>
            </a:extLst>
          </p:cNvPr>
          <p:cNvSpPr/>
          <p:nvPr userDrawn="1"/>
        </p:nvSpPr>
        <p:spPr>
          <a:xfrm>
            <a:off x="5974557" y="0"/>
            <a:ext cx="5974557" cy="67214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68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40B776-B903-A642-A3ED-247FCE207B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74557" y="0"/>
            <a:ext cx="5974556" cy="6721475"/>
          </a:xfrm>
        </p:spPr>
        <p:txBody>
          <a:bodyPr>
            <a:normAutofit/>
          </a:bodyPr>
          <a:lstStyle>
            <a:lvl1pPr marL="0" marR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960"/>
            </a:lvl1pPr>
          </a:lstStyle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icon below to insert an image or </a:t>
            </a:r>
          </a:p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remove this placeholder to use the </a:t>
            </a:r>
          </a:p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whitespace in another way</a:t>
            </a:r>
          </a:p>
          <a:p>
            <a:pPr lvl="0"/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23EA75F-CFCD-6449-8924-88F53FF27453}"/>
              </a:ext>
            </a:extLst>
          </p:cNvPr>
          <p:cNvSpPr/>
          <p:nvPr userDrawn="1"/>
        </p:nvSpPr>
        <p:spPr>
          <a:xfrm>
            <a:off x="0" y="0"/>
            <a:ext cx="5974557" cy="6721475"/>
          </a:xfrm>
          <a:prstGeom prst="rect">
            <a:avLst/>
          </a:prstGeom>
          <a:solidFill>
            <a:schemeClr val="tx2"/>
          </a:solidFill>
          <a:ln>
            <a:solidFill>
              <a:srgbClr val="1767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68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337C8C27-3231-CA42-9AFB-C37B670368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1459" y="2758096"/>
            <a:ext cx="4571159" cy="1096663"/>
          </a:xfrm>
        </p:spPr>
        <p:txBody>
          <a:bodyPr anchor="ctr">
            <a:normAutofit/>
          </a:bodyPr>
          <a:lstStyle>
            <a:lvl1pPr marL="0" indent="0" algn="l">
              <a:buNone/>
              <a:defRPr sz="3136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936C2D9E-3130-0D44-93A0-0415371143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09038" y="6126163"/>
            <a:ext cx="2689225" cy="3317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314921-4E57-464F-A582-181EFAE3A0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990728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PRP green slice (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5F9012E2-28B6-E844-8CB5-A2A2EAD45C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8160986"/>
              </p:ext>
            </p:ext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157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5F9012E2-28B6-E844-8CB5-A2A2EAD45C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83C05077-DB29-9B4D-AB89-705645F092A5}"/>
              </a:ext>
            </a:extLst>
          </p:cNvPr>
          <p:cNvSpPr/>
          <p:nvPr userDrawn="1"/>
        </p:nvSpPr>
        <p:spPr>
          <a:xfrm>
            <a:off x="7955694" y="0"/>
            <a:ext cx="3993420" cy="67214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68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40B776-B903-A642-A3ED-247FCE207B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55694" y="1"/>
            <a:ext cx="3542569" cy="6721474"/>
          </a:xfrm>
        </p:spPr>
        <p:txBody>
          <a:bodyPr>
            <a:normAutofit/>
          </a:bodyPr>
          <a:lstStyle>
            <a:lvl1pPr marL="0" marR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64"/>
            </a:lvl1pPr>
          </a:lstStyle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23EA75F-CFCD-6449-8924-88F53FF27453}"/>
              </a:ext>
            </a:extLst>
          </p:cNvPr>
          <p:cNvSpPr/>
          <p:nvPr userDrawn="1"/>
        </p:nvSpPr>
        <p:spPr>
          <a:xfrm>
            <a:off x="0" y="0"/>
            <a:ext cx="7958109" cy="6721475"/>
          </a:xfrm>
          <a:prstGeom prst="rect">
            <a:avLst/>
          </a:prstGeom>
          <a:solidFill>
            <a:srgbClr val="176739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68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337C8C27-3231-CA42-9AFB-C37B670368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1459" y="1877969"/>
            <a:ext cx="6421091" cy="2749932"/>
          </a:xfrm>
        </p:spPr>
        <p:txBody>
          <a:bodyPr anchor="ctr">
            <a:normAutofit/>
          </a:bodyPr>
          <a:lstStyle>
            <a:lvl1pPr marL="0" indent="0" algn="l">
              <a:buNone/>
              <a:defRPr sz="3136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CA07FB91-68D7-D04A-B13A-FD57C6652C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09038" y="6126163"/>
            <a:ext cx="2689225" cy="3317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314921-4E57-464F-A582-181EFAE3A0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190583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PRP Inverted green slice (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5F9012E2-28B6-E844-8CB5-A2A2EAD45C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2257160"/>
              </p:ext>
            </p:ext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181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5F9012E2-28B6-E844-8CB5-A2A2EAD45C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C23EA75F-CFCD-6449-8924-88F53FF27453}"/>
              </a:ext>
            </a:extLst>
          </p:cNvPr>
          <p:cNvSpPr/>
          <p:nvPr userDrawn="1"/>
        </p:nvSpPr>
        <p:spPr>
          <a:xfrm flipH="1">
            <a:off x="3979480" y="9094"/>
            <a:ext cx="7969632" cy="6721475"/>
          </a:xfrm>
          <a:prstGeom prst="rect">
            <a:avLst/>
          </a:prstGeom>
          <a:solidFill>
            <a:srgbClr val="176739"/>
          </a:solidFill>
          <a:ln>
            <a:solidFill>
              <a:srgbClr val="1767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68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ABA51E-D23F-D54C-8533-640229D432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36473" y="239713"/>
            <a:ext cx="7161790" cy="38893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337C8C27-3231-CA42-9AFB-C37B670368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4975" y="2812406"/>
            <a:ext cx="2519248" cy="1096663"/>
          </a:xfrm>
        </p:spPr>
        <p:txBody>
          <a:bodyPr>
            <a:normAutofit/>
          </a:bodyPr>
          <a:lstStyle>
            <a:lvl1pPr marL="0" indent="0" algn="l">
              <a:buNone/>
              <a:defRPr sz="3136">
                <a:solidFill>
                  <a:schemeClr val="tx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AE35C452-94A3-7A40-8E19-4420AA816B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09038" y="6126163"/>
            <a:ext cx="2689225" cy="3317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314921-4E57-464F-A582-181EFAE3A0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999002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verted blue slice (1/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5F9012E2-28B6-E844-8CB5-A2A2EAD45C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2558215"/>
              </p:ext>
            </p:ext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205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5F9012E2-28B6-E844-8CB5-A2A2EAD45C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40B776-B903-A642-A3ED-247FCE207B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0"/>
            <a:ext cx="5974556" cy="6721475"/>
          </a:xfrm>
        </p:spPr>
        <p:txBody>
          <a:bodyPr>
            <a:normAutofit/>
          </a:bodyPr>
          <a:lstStyle>
            <a:lvl1pPr marL="0" marR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960"/>
            </a:lvl1pPr>
          </a:lstStyle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icon below to insert an image or </a:t>
            </a:r>
          </a:p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remove this placeholder to use the </a:t>
            </a:r>
          </a:p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whitespace in another way</a:t>
            </a:r>
          </a:p>
          <a:p>
            <a:pPr lvl="0"/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64B88C-026A-C345-9FCB-014A0FB762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45345" y="6229812"/>
            <a:ext cx="582266" cy="357856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>
                <a:solidFill>
                  <a:srgbClr val="343A5A"/>
                </a:solidFill>
              </a:defRPr>
            </a:lvl1pPr>
          </a:lstStyle>
          <a:p>
            <a:fld id="{EC660F99-C85D-9843-B6EF-278B03C06F8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0C40D1C-F313-2147-B944-753C1A455361}"/>
              </a:ext>
            </a:extLst>
          </p:cNvPr>
          <p:cNvSpPr/>
          <p:nvPr userDrawn="1"/>
        </p:nvSpPr>
        <p:spPr>
          <a:xfrm flipH="1">
            <a:off x="5974556" y="0"/>
            <a:ext cx="5974556" cy="6721475"/>
          </a:xfrm>
          <a:prstGeom prst="rect">
            <a:avLst/>
          </a:prstGeom>
          <a:solidFill>
            <a:srgbClr val="176739"/>
          </a:solidFill>
          <a:ln>
            <a:solidFill>
              <a:srgbClr val="1767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68" dirty="0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0DD4508B-8E85-F74C-9D56-81B19B0AB634}"/>
              </a:ext>
            </a:extLst>
          </p:cNvPr>
          <p:cNvSpPr txBox="1">
            <a:spLocks/>
          </p:cNvSpPr>
          <p:nvPr userDrawn="1"/>
        </p:nvSpPr>
        <p:spPr>
          <a:xfrm>
            <a:off x="8809038" y="6126163"/>
            <a:ext cx="2689225" cy="3317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3D314921-4E57-464F-A582-181EFAE3A0A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428743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verted blue slice (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5F9012E2-28B6-E844-8CB5-A2A2EAD45C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8586266"/>
              </p:ext>
            </p:ext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229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5F9012E2-28B6-E844-8CB5-A2A2EAD45C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83C05077-DB29-9B4D-AB89-705645F092A5}"/>
              </a:ext>
            </a:extLst>
          </p:cNvPr>
          <p:cNvSpPr/>
          <p:nvPr userDrawn="1"/>
        </p:nvSpPr>
        <p:spPr>
          <a:xfrm>
            <a:off x="7955694" y="0"/>
            <a:ext cx="3993420" cy="6721475"/>
          </a:xfrm>
          <a:prstGeom prst="rect">
            <a:avLst/>
          </a:prstGeom>
          <a:solidFill>
            <a:srgbClr val="343A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68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40B776-B903-A642-A3ED-247FCE207B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55694" y="1"/>
            <a:ext cx="3993420" cy="6721474"/>
          </a:xfrm>
          <a:solidFill>
            <a:srgbClr val="176739"/>
          </a:solidFill>
        </p:spPr>
        <p:txBody>
          <a:bodyPr>
            <a:normAutofit/>
          </a:bodyPr>
          <a:lstStyle>
            <a:lvl1pPr marL="0" marR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64">
                <a:solidFill>
                  <a:schemeClr val="bg1"/>
                </a:solidFill>
              </a:defRPr>
            </a:lvl1pPr>
          </a:lstStyle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337C8C27-3231-CA42-9AFB-C37B670368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1459" y="2045826"/>
            <a:ext cx="6421092" cy="2629823"/>
          </a:xfrm>
        </p:spPr>
        <p:txBody>
          <a:bodyPr anchor="ctr">
            <a:normAutofit/>
          </a:bodyPr>
          <a:lstStyle>
            <a:lvl1pPr marL="0" indent="0" algn="l">
              <a:buNone/>
              <a:defRPr sz="3136">
                <a:solidFill>
                  <a:schemeClr val="tx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358949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PRP Agenda Defaul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7169242"/>
              </p:ext>
            </p:ext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99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/>
          <p:cNvSpPr txBox="1"/>
          <p:nvPr userDrawn="1"/>
        </p:nvSpPr>
        <p:spPr>
          <a:xfrm>
            <a:off x="617449" y="889138"/>
            <a:ext cx="3380094" cy="119617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599808" tIns="458677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endParaRPr lang="en-US" sz="5293" dirty="0">
              <a:solidFill>
                <a:srgbClr val="333A5E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1D14662-5EA6-6946-B18A-007366D18E8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26760" y="889138"/>
            <a:ext cx="5036365" cy="5012380"/>
          </a:xfrm>
        </p:spPr>
        <p:txBody>
          <a:bodyPr>
            <a:normAutofit/>
          </a:bodyPr>
          <a:lstStyle>
            <a:lvl1pPr>
              <a:defRPr sz="2352">
                <a:solidFill>
                  <a:srgbClr val="176739"/>
                </a:solidFill>
              </a:defRPr>
            </a:lvl1pPr>
            <a:lvl2pPr>
              <a:defRPr sz="2352">
                <a:solidFill>
                  <a:srgbClr val="176739"/>
                </a:solidFill>
              </a:defRPr>
            </a:lvl2pPr>
            <a:lvl3pPr>
              <a:defRPr sz="2352">
                <a:solidFill>
                  <a:srgbClr val="176739"/>
                </a:solidFill>
              </a:defRPr>
            </a:lvl3pPr>
            <a:lvl4pPr>
              <a:defRPr sz="2352">
                <a:solidFill>
                  <a:srgbClr val="176739"/>
                </a:solidFill>
              </a:defRPr>
            </a:lvl4pPr>
            <a:lvl5pPr>
              <a:defRPr sz="2352">
                <a:solidFill>
                  <a:srgbClr val="176739"/>
                </a:solidFill>
              </a:defRPr>
            </a:lvl5pPr>
          </a:lstStyle>
          <a:p>
            <a:pPr lvl="0"/>
            <a:r>
              <a:rPr lang="en-GB" dirty="0"/>
              <a:t>Click to edit first level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6" name="TextBox 1">
            <a:extLst>
              <a:ext uri="{FF2B5EF4-FFF2-40B4-BE49-F238E27FC236}">
                <a16:creationId xmlns:a16="http://schemas.microsoft.com/office/drawing/2014/main" id="{31A8A388-A6D7-A649-92B5-BCAA6FD26AF6}"/>
              </a:ext>
            </a:extLst>
          </p:cNvPr>
          <p:cNvSpPr txBox="1"/>
          <p:nvPr userDrawn="1"/>
        </p:nvSpPr>
        <p:spPr>
          <a:xfrm>
            <a:off x="1059393" y="2971610"/>
            <a:ext cx="2622834" cy="7800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sz="4704" dirty="0">
                <a:solidFill>
                  <a:srgbClr val="176739"/>
                </a:solidFill>
                <a:latin typeface="Century Gothic" panose="020B0502020202020204" pitchFamily="34" charset="0"/>
              </a:rPr>
              <a:t>Agenda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52376E7-1A8F-C84C-BAEE-02F6895BABC5}"/>
              </a:ext>
            </a:extLst>
          </p:cNvPr>
          <p:cNvCxnSpPr/>
          <p:nvPr userDrawn="1"/>
        </p:nvCxnSpPr>
        <p:spPr>
          <a:xfrm>
            <a:off x="3998596" y="478359"/>
            <a:ext cx="0" cy="5776347"/>
          </a:xfrm>
          <a:prstGeom prst="line">
            <a:avLst/>
          </a:prstGeom>
          <a:ln w="38100">
            <a:solidFill>
              <a:srgbClr val="1767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E80734B1-0579-7A44-9CE0-4E72C6BB012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 r="27807"/>
          <a:stretch>
            <a:fillRect/>
          </a:stretch>
        </p:blipFill>
        <p:spPr>
          <a:xfrm flipH="1">
            <a:off x="7391399" y="2857817"/>
            <a:ext cx="4446305" cy="4245379"/>
          </a:xfrm>
          <a:custGeom>
            <a:avLst/>
            <a:gdLst>
              <a:gd name="connsiteX0" fmla="*/ 0 w 5994518"/>
              <a:gd name="connsiteY0" fmla="*/ 0 h 6242845"/>
              <a:gd name="connsiteX1" fmla="*/ 26078 w 5994518"/>
              <a:gd name="connsiteY1" fmla="*/ 0 h 6242845"/>
              <a:gd name="connsiteX2" fmla="*/ 5994518 w 5994518"/>
              <a:gd name="connsiteY2" fmla="*/ 6242845 h 6242845"/>
              <a:gd name="connsiteX3" fmla="*/ 0 w 5994518"/>
              <a:gd name="connsiteY3" fmla="*/ 6242845 h 6242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94518" h="6242845">
                <a:moveTo>
                  <a:pt x="0" y="0"/>
                </a:moveTo>
                <a:lnTo>
                  <a:pt x="26078" y="0"/>
                </a:lnTo>
                <a:lnTo>
                  <a:pt x="5994518" y="6242845"/>
                </a:lnTo>
                <a:lnTo>
                  <a:pt x="0" y="62428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4718317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PRP green arrow (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5F9012E2-28B6-E844-8CB5-A2A2EAD45C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0867472"/>
              </p:ext>
            </p:ext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1253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5F9012E2-28B6-E844-8CB5-A2A2EAD45C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4">
            <a:extLst>
              <a:ext uri="{FF2B5EF4-FFF2-40B4-BE49-F238E27FC236}">
                <a16:creationId xmlns:a16="http://schemas.microsoft.com/office/drawing/2014/main" id="{CF1D44F9-37A9-FE46-9485-E48E832D7B50}"/>
              </a:ext>
            </a:extLst>
          </p:cNvPr>
          <p:cNvSpPr/>
          <p:nvPr userDrawn="1"/>
        </p:nvSpPr>
        <p:spPr bwMode="ltGray">
          <a:xfrm>
            <a:off x="0" y="0"/>
            <a:ext cx="4006865" cy="6721475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17673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80"/>
              </a:spcAft>
            </a:pPr>
            <a:endParaRPr lang="en-US" sz="1176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ABA51E-D23F-D54C-8533-640229D432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33124" y="245059"/>
            <a:ext cx="7165139" cy="3835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40B776-B903-A642-A3ED-247FCE207B1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33124" y="1063625"/>
            <a:ext cx="7165138" cy="5062537"/>
          </a:xfrm>
        </p:spPr>
        <p:txBody>
          <a:bodyPr/>
          <a:lstStyle/>
          <a:p>
            <a:pPr lvl="0"/>
            <a:r>
              <a:rPr lang="en-US" dirty="0"/>
              <a:t>Click to add first level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337C8C27-3231-CA42-9AFB-C37B670368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4975" y="2591773"/>
            <a:ext cx="2557190" cy="1537930"/>
          </a:xfrm>
        </p:spPr>
        <p:txBody>
          <a:bodyPr>
            <a:normAutofit/>
          </a:bodyPr>
          <a:lstStyle>
            <a:lvl1pPr marL="0" indent="0" algn="ctr">
              <a:buNone/>
              <a:defRPr sz="3136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595B1A4A-8154-4E4E-9844-064C20E92B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09038" y="6126163"/>
            <a:ext cx="2689225" cy="3317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314921-4E57-464F-A582-181EFAE3A0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65171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verted blue arrow (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5F9012E2-28B6-E844-8CB5-A2A2EAD45C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792221"/>
              </p:ext>
            </p:ext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2277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5F9012E2-28B6-E844-8CB5-A2A2EAD45C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7E764684-DD41-964A-AFFA-C1824B7F9347}"/>
              </a:ext>
            </a:extLst>
          </p:cNvPr>
          <p:cNvSpPr/>
          <p:nvPr userDrawn="1"/>
        </p:nvSpPr>
        <p:spPr>
          <a:xfrm>
            <a:off x="0" y="0"/>
            <a:ext cx="11949113" cy="6721475"/>
          </a:xfrm>
          <a:prstGeom prst="rect">
            <a:avLst/>
          </a:prstGeom>
          <a:solidFill>
            <a:srgbClr val="1767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68" dirty="0"/>
          </a:p>
        </p:txBody>
      </p:sp>
      <p:sp>
        <p:nvSpPr>
          <p:cNvPr id="13" name="Freeform 14">
            <a:extLst>
              <a:ext uri="{FF2B5EF4-FFF2-40B4-BE49-F238E27FC236}">
                <a16:creationId xmlns:a16="http://schemas.microsoft.com/office/drawing/2014/main" id="{CF1D44F9-37A9-FE46-9485-E48E832D7B50}"/>
              </a:ext>
            </a:extLst>
          </p:cNvPr>
          <p:cNvSpPr/>
          <p:nvPr userDrawn="1"/>
        </p:nvSpPr>
        <p:spPr bwMode="ltGray">
          <a:xfrm>
            <a:off x="0" y="0"/>
            <a:ext cx="4006865" cy="6721475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80"/>
              </a:spcAft>
            </a:pPr>
            <a:endParaRPr lang="en-US" sz="1176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ABA51E-D23F-D54C-8533-640229D432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80210" y="239713"/>
            <a:ext cx="7218053" cy="38893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40B776-B903-A642-A3ED-247FCE207B1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80210" y="1063625"/>
            <a:ext cx="7218052" cy="50625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first level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337C8C27-3231-CA42-9AFB-C37B670368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4975" y="2591773"/>
            <a:ext cx="2752340" cy="1537930"/>
          </a:xfrm>
        </p:spPr>
        <p:txBody>
          <a:bodyPr anchor="ctr">
            <a:normAutofit/>
          </a:bodyPr>
          <a:lstStyle>
            <a:lvl1pPr marL="0" indent="0" algn="l">
              <a:buNone/>
              <a:defRPr sz="3136">
                <a:solidFill>
                  <a:schemeClr val="tx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5EB277FB-F4C9-F947-8B36-45A621E93C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09038" y="6126163"/>
            <a:ext cx="2689225" cy="3317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314921-4E57-464F-A582-181EFAE3A0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735038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PRP green arrow (1/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5F9012E2-28B6-E844-8CB5-A2A2EAD45C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7306123"/>
              </p:ext>
            </p:ext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301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5F9012E2-28B6-E844-8CB5-A2A2EAD45C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>
            <a:extLst>
              <a:ext uri="{FF2B5EF4-FFF2-40B4-BE49-F238E27FC236}">
                <a16:creationId xmlns:a16="http://schemas.microsoft.com/office/drawing/2014/main" id="{573BE8E0-70BD-9C4A-90D9-BE772B88B383}"/>
              </a:ext>
            </a:extLst>
          </p:cNvPr>
          <p:cNvSpPr/>
          <p:nvPr userDrawn="1"/>
        </p:nvSpPr>
        <p:spPr bwMode="white">
          <a:xfrm>
            <a:off x="0" y="0"/>
            <a:ext cx="6236772" cy="6721475"/>
          </a:xfrm>
          <a:prstGeom prst="homePlate">
            <a:avLst>
              <a:gd name="adj" fmla="val 12939"/>
            </a:avLst>
          </a:prstGeom>
          <a:solidFill>
            <a:schemeClr val="tx2"/>
          </a:solidFill>
          <a:ln>
            <a:solidFill>
              <a:srgbClr val="1767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80"/>
              </a:spcAft>
            </a:pPr>
            <a:endParaRPr lang="en-US" sz="1176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ABA51E-D23F-D54C-8533-640229D432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50939" y="2877803"/>
            <a:ext cx="4586717" cy="965869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337C8C27-3231-CA42-9AFB-C37B670368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1458" y="2877803"/>
            <a:ext cx="4586718" cy="965869"/>
          </a:xfrm>
        </p:spPr>
        <p:txBody>
          <a:bodyPr anchor="ctr">
            <a:normAutofit/>
          </a:bodyPr>
          <a:lstStyle>
            <a:lvl1pPr marL="0" indent="0" algn="ctr">
              <a:buNone/>
              <a:defRPr sz="2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A2F812C7-2A9A-994B-B043-821F0BC8A8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09038" y="6126163"/>
            <a:ext cx="2689225" cy="3317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314921-4E57-464F-A582-181EFAE3A0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697271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PRP inverted green arrow (1/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5F9012E2-28B6-E844-8CB5-A2A2EAD45C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761858"/>
              </p:ext>
            </p:ext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325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5F9012E2-28B6-E844-8CB5-A2A2EAD45C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AD4D6F69-9F22-524F-8C09-D4B625F7857B}"/>
              </a:ext>
            </a:extLst>
          </p:cNvPr>
          <p:cNvSpPr/>
          <p:nvPr userDrawn="1"/>
        </p:nvSpPr>
        <p:spPr>
          <a:xfrm>
            <a:off x="0" y="0"/>
            <a:ext cx="11949113" cy="6721475"/>
          </a:xfrm>
          <a:prstGeom prst="rect">
            <a:avLst/>
          </a:prstGeom>
          <a:solidFill>
            <a:srgbClr val="1767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68" dirty="0"/>
          </a:p>
        </p:txBody>
      </p:sp>
      <p:sp>
        <p:nvSpPr>
          <p:cNvPr id="14" name="Pentagon 8">
            <a:extLst>
              <a:ext uri="{FF2B5EF4-FFF2-40B4-BE49-F238E27FC236}">
                <a16:creationId xmlns:a16="http://schemas.microsoft.com/office/drawing/2014/main" id="{573BE8E0-70BD-9C4A-90D9-BE772B88B383}"/>
              </a:ext>
            </a:extLst>
          </p:cNvPr>
          <p:cNvSpPr/>
          <p:nvPr userDrawn="1"/>
        </p:nvSpPr>
        <p:spPr bwMode="white">
          <a:xfrm>
            <a:off x="0" y="0"/>
            <a:ext cx="6236772" cy="6721475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980"/>
              </a:spcAft>
            </a:pPr>
            <a:endParaRPr lang="en-US" sz="1176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ABA51E-D23F-D54C-8533-640229D432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246" y="2911555"/>
            <a:ext cx="4698469" cy="965869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2744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337C8C27-3231-CA42-9AFB-C37B670368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4936" y="2911555"/>
            <a:ext cx="4563240" cy="965869"/>
          </a:xfrm>
        </p:spPr>
        <p:txBody>
          <a:bodyPr anchor="ctr">
            <a:normAutofit/>
          </a:bodyPr>
          <a:lstStyle>
            <a:lvl1pPr marL="0" indent="0" algn="ctr">
              <a:buNone/>
              <a:defRPr sz="2744">
                <a:solidFill>
                  <a:srgbClr val="176739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15931676-0814-7F4A-86FE-7B6E539662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09038" y="6126163"/>
            <a:ext cx="2689225" cy="3317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314921-4E57-464F-A582-181EFAE3A0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10401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PRP green arrow (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977BE65-B36C-C041-945C-7691238F31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372588"/>
              </p:ext>
            </p:ext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5349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977BE65-B36C-C041-945C-7691238F31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18">
            <a:extLst>
              <a:ext uri="{FF2B5EF4-FFF2-40B4-BE49-F238E27FC236}">
                <a16:creationId xmlns:a16="http://schemas.microsoft.com/office/drawing/2014/main" id="{1B1EC53C-8902-F448-81C4-4405E1DE4776}"/>
              </a:ext>
            </a:extLst>
          </p:cNvPr>
          <p:cNvSpPr/>
          <p:nvPr userDrawn="1"/>
        </p:nvSpPr>
        <p:spPr bwMode="white">
          <a:xfrm>
            <a:off x="1" y="0"/>
            <a:ext cx="8277974" cy="6721475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176739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80"/>
              </a:spcAft>
            </a:pPr>
            <a:endParaRPr lang="en-US" sz="1176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A529AB6-0D76-A541-8175-0EA9B1D445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975" y="3176072"/>
            <a:ext cx="6588609" cy="36933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920479F-2C4E-5D49-8225-5C674AD7ADF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868483" y="3045011"/>
            <a:ext cx="2469172" cy="631453"/>
          </a:xfrm>
        </p:spPr>
        <p:txBody>
          <a:bodyPr anchor="ctr">
            <a:normAutofit/>
          </a:bodyPr>
          <a:lstStyle>
            <a:lvl1pPr marL="0" indent="0">
              <a:buNone/>
              <a:defRPr sz="2400">
                <a:solidFill>
                  <a:srgbClr val="176739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5D65BF96-F02B-CF4B-8847-7860FD90E6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09038" y="6126163"/>
            <a:ext cx="2689225" cy="3317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314921-4E57-464F-A582-181EFAE3A0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384995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PRP inverted green arrow (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977BE65-B36C-C041-945C-7691238F31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4226245"/>
              </p:ext>
            </p:ext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6373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977BE65-B36C-C041-945C-7691238F31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67E6CAF5-4282-5C4A-ACE3-C16E673C0D07}"/>
              </a:ext>
            </a:extLst>
          </p:cNvPr>
          <p:cNvSpPr/>
          <p:nvPr userDrawn="1"/>
        </p:nvSpPr>
        <p:spPr>
          <a:xfrm>
            <a:off x="0" y="0"/>
            <a:ext cx="11949113" cy="6721475"/>
          </a:xfrm>
          <a:prstGeom prst="rect">
            <a:avLst/>
          </a:prstGeom>
          <a:solidFill>
            <a:srgbClr val="1767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68" dirty="0"/>
          </a:p>
        </p:txBody>
      </p:sp>
      <p:sp>
        <p:nvSpPr>
          <p:cNvPr id="4" name="Freeform 18">
            <a:extLst>
              <a:ext uri="{FF2B5EF4-FFF2-40B4-BE49-F238E27FC236}">
                <a16:creationId xmlns:a16="http://schemas.microsoft.com/office/drawing/2014/main" id="{1B1EC53C-8902-F448-81C4-4405E1DE4776}"/>
              </a:ext>
            </a:extLst>
          </p:cNvPr>
          <p:cNvSpPr/>
          <p:nvPr userDrawn="1"/>
        </p:nvSpPr>
        <p:spPr bwMode="white">
          <a:xfrm>
            <a:off x="1" y="1"/>
            <a:ext cx="8277974" cy="6736665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80"/>
              </a:spcAft>
            </a:pPr>
            <a:endParaRPr lang="en-US" sz="1176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A529AB6-0D76-A541-8175-0EA9B1D445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975" y="3183667"/>
            <a:ext cx="6588609" cy="369332"/>
          </a:xfrm>
        </p:spPr>
        <p:txBody>
          <a:bodyPr/>
          <a:lstStyle>
            <a:lvl1pPr>
              <a:defRPr>
                <a:solidFill>
                  <a:srgbClr val="176739"/>
                </a:solidFill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905D9DAD-D37C-E048-9931-EE2D7354D8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09038" y="6126163"/>
            <a:ext cx="2689225" cy="3317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314921-4E57-464F-A582-181EFAE3A0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071093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CEFF5C9-0D33-734A-B17A-A49A5BE2B8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1245388"/>
              </p:ext>
            </p:ext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7397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CEFF5C9-0D33-734A-B17A-A49A5BE2B8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3">
            <a:extLst>
              <a:ext uri="{FF2B5EF4-FFF2-40B4-BE49-F238E27FC236}">
                <a16:creationId xmlns:a16="http://schemas.microsoft.com/office/drawing/2014/main" id="{1CA50BC5-D8EF-C842-B932-741212CDDE79}"/>
              </a:ext>
            </a:extLst>
          </p:cNvPr>
          <p:cNvSpPr>
            <a:spLocks/>
          </p:cNvSpPr>
          <p:nvPr userDrawn="1"/>
        </p:nvSpPr>
        <p:spPr bwMode="white">
          <a:xfrm flipH="1">
            <a:off x="-26576" y="0"/>
            <a:ext cx="11975689" cy="5750532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176739"/>
          </a:solidFill>
          <a:ln>
            <a:noFill/>
          </a:ln>
          <a:effectLst/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56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CCB43D-5CB9-B44B-A405-1B6C8B8B09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4926" y="2465579"/>
            <a:ext cx="10306110" cy="36933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quote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AB263E48-077C-9346-A27B-4228DD9A97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09038" y="6126163"/>
            <a:ext cx="2689225" cy="3317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314921-4E57-464F-A582-181EFAE3A0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313070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verted green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CEFF5C9-0D33-734A-B17A-A49A5BE2B8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1906870"/>
              </p:ext>
            </p:ext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8421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CEFF5C9-0D33-734A-B17A-A49A5BE2B8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EB227865-959C-A948-8561-9B76E2416051}"/>
              </a:ext>
            </a:extLst>
          </p:cNvPr>
          <p:cNvSpPr/>
          <p:nvPr userDrawn="1"/>
        </p:nvSpPr>
        <p:spPr>
          <a:xfrm>
            <a:off x="-26576" y="1"/>
            <a:ext cx="11975689" cy="6855282"/>
          </a:xfrm>
          <a:prstGeom prst="rect">
            <a:avLst/>
          </a:prstGeom>
          <a:solidFill>
            <a:srgbClr val="1767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68" dirty="0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1CA50BC5-D8EF-C842-B932-741212CDDE79}"/>
              </a:ext>
            </a:extLst>
          </p:cNvPr>
          <p:cNvSpPr>
            <a:spLocks/>
          </p:cNvSpPr>
          <p:nvPr userDrawn="1"/>
        </p:nvSpPr>
        <p:spPr bwMode="white">
          <a:xfrm flipH="1">
            <a:off x="-26576" y="-93961"/>
            <a:ext cx="11975689" cy="5750532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vert="horz" wrap="square" lIns="89618" tIns="44809" rIns="89618" bIns="44809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56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CCB43D-5CB9-B44B-A405-1B6C8B8B09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4926" y="2465579"/>
            <a:ext cx="10306110" cy="369332"/>
          </a:xfrm>
        </p:spPr>
        <p:txBody>
          <a:bodyPr/>
          <a:lstStyle>
            <a:lvl1pPr algn="ctr">
              <a:defRPr>
                <a:solidFill>
                  <a:srgbClr val="176739"/>
                </a:solidFill>
              </a:defRPr>
            </a:lvl1pPr>
          </a:lstStyle>
          <a:p>
            <a:r>
              <a:rPr lang="en-US" dirty="0"/>
              <a:t>Click to add quote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6F44270C-F260-6446-BC3D-487AACF0CE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09038" y="6126163"/>
            <a:ext cx="2689225" cy="3317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314921-4E57-464F-A582-181EFAE3A0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682845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PRP Green E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148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D27C6C-F961-4DDE-91AE-F7106FF284A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259050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1067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781424" y="6254081"/>
            <a:ext cx="5120516" cy="380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ZA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ZA" sz="800" baseline="0" dirty="0">
                <a:solidFill>
                  <a:schemeClr val="bg1"/>
                </a:solidFill>
                <a:latin typeface="+mn-lt"/>
              </a:rPr>
              <a:t>Any use of this material without specific permission is strictly prohibited</a:t>
            </a:r>
            <a:endParaRPr lang="en-US" sz="800" baseline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8B36C022-4CD7-4AE3-9EB9-C2A7C0991460}"/>
              </a:ext>
            </a:extLst>
          </p:cNvPr>
          <p:cNvSpPr txBox="1"/>
          <p:nvPr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ZA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8" name="Working Draft" hidden="1">
            <a:extLst>
              <a:ext uri="{FF2B5EF4-FFF2-40B4-BE49-F238E27FC236}">
                <a16:creationId xmlns:a16="http://schemas.microsoft.com/office/drawing/2014/main" id="{1499DE9C-1052-42CC-A648-F322B77CCA05}"/>
              </a:ext>
            </a:extLst>
          </p:cNvPr>
          <p:cNvSpPr txBox="1"/>
          <p:nvPr/>
        </p:nvSpPr>
        <p:spPr>
          <a:xfrm>
            <a:off x="8064500" y="6350000"/>
            <a:ext cx="3214341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2020/03/08 22:31 W. Central Africa Standard Time</a:t>
            </a:r>
            <a:endParaRPr lang="en-ZA" sz="800" dirty="0">
              <a:solidFill>
                <a:srgbClr val="FFFFFF"/>
              </a:solidFill>
            </a:endParaRPr>
          </a:p>
        </p:txBody>
      </p:sp>
      <p:sp>
        <p:nvSpPr>
          <p:cNvPr id="9" name="Printed" hidden="1">
            <a:extLst>
              <a:ext uri="{FF2B5EF4-FFF2-40B4-BE49-F238E27FC236}">
                <a16:creationId xmlns:a16="http://schemas.microsoft.com/office/drawing/2014/main" id="{9598A30F-8710-45D8-9018-9E04EB86EFEC}"/>
              </a:ext>
            </a:extLst>
          </p:cNvPr>
          <p:cNvSpPr txBox="1"/>
          <p:nvPr/>
        </p:nvSpPr>
        <p:spPr>
          <a:xfrm>
            <a:off x="8064500" y="6477000"/>
            <a:ext cx="511679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ZA" sz="800" dirty="0">
                <a:solidFill>
                  <a:srgbClr val="FFFFFF"/>
                </a:solidFill>
              </a:rPr>
              <a:t>Printed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2D408A2C-9D03-49DA-BC5B-E92FDF580CD0}"/>
              </a:ext>
            </a:extLst>
          </p:cNvPr>
          <p:cNvSpPr/>
          <p:nvPr/>
        </p:nvSpPr>
        <p:spPr>
          <a:xfrm flipH="1">
            <a:off x="-1" y="-12140"/>
            <a:ext cx="11949113" cy="6745790"/>
          </a:xfrm>
          <a:custGeom>
            <a:avLst/>
            <a:gdLst>
              <a:gd name="connsiteX0" fmla="*/ 114300 w 6057900"/>
              <a:gd name="connsiteY0" fmla="*/ 0 h 7442200"/>
              <a:gd name="connsiteX1" fmla="*/ 6057900 w 6057900"/>
              <a:gd name="connsiteY1" fmla="*/ 7442200 h 7442200"/>
              <a:gd name="connsiteX2" fmla="*/ 0 w 6057900"/>
              <a:gd name="connsiteY2" fmla="*/ 7442200 h 7442200"/>
              <a:gd name="connsiteX3" fmla="*/ 114300 w 6057900"/>
              <a:gd name="connsiteY3" fmla="*/ 0 h 7442200"/>
              <a:gd name="connsiteX0" fmla="*/ 14509 w 6057900"/>
              <a:gd name="connsiteY0" fmla="*/ 0 h 7442200"/>
              <a:gd name="connsiteX1" fmla="*/ 6057900 w 6057900"/>
              <a:gd name="connsiteY1" fmla="*/ 7442200 h 7442200"/>
              <a:gd name="connsiteX2" fmla="*/ 0 w 6057900"/>
              <a:gd name="connsiteY2" fmla="*/ 7442200 h 7442200"/>
              <a:gd name="connsiteX3" fmla="*/ 14509 w 6057900"/>
              <a:gd name="connsiteY3" fmla="*/ 0 h 7442200"/>
              <a:gd name="connsiteX0" fmla="*/ 1113 w 6062114"/>
              <a:gd name="connsiteY0" fmla="*/ 0 h 7476655"/>
              <a:gd name="connsiteX1" fmla="*/ 6062114 w 6062114"/>
              <a:gd name="connsiteY1" fmla="*/ 7476655 h 7476655"/>
              <a:gd name="connsiteX2" fmla="*/ 4214 w 6062114"/>
              <a:gd name="connsiteY2" fmla="*/ 7476655 h 7476655"/>
              <a:gd name="connsiteX3" fmla="*/ 1113 w 6062114"/>
              <a:gd name="connsiteY3" fmla="*/ 0 h 7476655"/>
              <a:gd name="connsiteX0" fmla="*/ 1113 w 6062114"/>
              <a:gd name="connsiteY0" fmla="*/ 0 h 7476655"/>
              <a:gd name="connsiteX1" fmla="*/ 3228285 w 6062114"/>
              <a:gd name="connsiteY1" fmla="*/ 4069980 h 7476655"/>
              <a:gd name="connsiteX2" fmla="*/ 6062114 w 6062114"/>
              <a:gd name="connsiteY2" fmla="*/ 7476655 h 7476655"/>
              <a:gd name="connsiteX3" fmla="*/ 4214 w 6062114"/>
              <a:gd name="connsiteY3" fmla="*/ 7476655 h 7476655"/>
              <a:gd name="connsiteX4" fmla="*/ 1113 w 6062114"/>
              <a:gd name="connsiteY4" fmla="*/ 0 h 7476655"/>
              <a:gd name="connsiteX0" fmla="*/ 1113 w 21638234"/>
              <a:gd name="connsiteY0" fmla="*/ 0 h 7476655"/>
              <a:gd name="connsiteX1" fmla="*/ 21638234 w 21638234"/>
              <a:gd name="connsiteY1" fmla="*/ 32302 h 7476655"/>
              <a:gd name="connsiteX2" fmla="*/ 6062114 w 21638234"/>
              <a:gd name="connsiteY2" fmla="*/ 7476655 h 7476655"/>
              <a:gd name="connsiteX3" fmla="*/ 4214 w 21638234"/>
              <a:gd name="connsiteY3" fmla="*/ 7476655 h 7476655"/>
              <a:gd name="connsiteX4" fmla="*/ 1113 w 21638234"/>
              <a:gd name="connsiteY4" fmla="*/ 0 h 7476655"/>
              <a:gd name="connsiteX0" fmla="*/ 1113 w 21492815"/>
              <a:gd name="connsiteY0" fmla="*/ 0 h 7476655"/>
              <a:gd name="connsiteX1" fmla="*/ 21492815 w 21492815"/>
              <a:gd name="connsiteY1" fmla="*/ 64604 h 7476655"/>
              <a:gd name="connsiteX2" fmla="*/ 6062114 w 21492815"/>
              <a:gd name="connsiteY2" fmla="*/ 7476655 h 7476655"/>
              <a:gd name="connsiteX3" fmla="*/ 4214 w 21492815"/>
              <a:gd name="connsiteY3" fmla="*/ 7476655 h 7476655"/>
              <a:gd name="connsiteX4" fmla="*/ 1113 w 21492815"/>
              <a:gd name="connsiteY4" fmla="*/ 0 h 7476655"/>
              <a:gd name="connsiteX0" fmla="*/ 1113 w 21492815"/>
              <a:gd name="connsiteY0" fmla="*/ 0 h 7476655"/>
              <a:gd name="connsiteX1" fmla="*/ 21492815 w 21492815"/>
              <a:gd name="connsiteY1" fmla="*/ 32302 h 7476655"/>
              <a:gd name="connsiteX2" fmla="*/ 6062114 w 21492815"/>
              <a:gd name="connsiteY2" fmla="*/ 7476655 h 7476655"/>
              <a:gd name="connsiteX3" fmla="*/ 4214 w 21492815"/>
              <a:gd name="connsiteY3" fmla="*/ 7476655 h 7476655"/>
              <a:gd name="connsiteX4" fmla="*/ 1113 w 21492815"/>
              <a:gd name="connsiteY4" fmla="*/ 0 h 7476655"/>
              <a:gd name="connsiteX0" fmla="*/ 84153 w 21575855"/>
              <a:gd name="connsiteY0" fmla="*/ 0 h 17910017"/>
              <a:gd name="connsiteX1" fmla="*/ 21575855 w 21575855"/>
              <a:gd name="connsiteY1" fmla="*/ 32302 h 17910017"/>
              <a:gd name="connsiteX2" fmla="*/ 6145154 w 21575855"/>
              <a:gd name="connsiteY2" fmla="*/ 7476655 h 17910017"/>
              <a:gd name="connsiteX3" fmla="*/ 0 w 21575855"/>
              <a:gd name="connsiteY3" fmla="*/ 17910017 h 17910017"/>
              <a:gd name="connsiteX4" fmla="*/ 84153 w 21575855"/>
              <a:gd name="connsiteY4" fmla="*/ 0 h 17910017"/>
              <a:gd name="connsiteX0" fmla="*/ 84153 w 21588569"/>
              <a:gd name="connsiteY0" fmla="*/ 0 h 17910017"/>
              <a:gd name="connsiteX1" fmla="*/ 21575855 w 21588569"/>
              <a:gd name="connsiteY1" fmla="*/ 32302 h 17910017"/>
              <a:gd name="connsiteX2" fmla="*/ 21588569 w 21588569"/>
              <a:gd name="connsiteY2" fmla="*/ 17910017 h 17910017"/>
              <a:gd name="connsiteX3" fmla="*/ 0 w 21588569"/>
              <a:gd name="connsiteY3" fmla="*/ 17910017 h 17910017"/>
              <a:gd name="connsiteX4" fmla="*/ 84153 w 21588569"/>
              <a:gd name="connsiteY4" fmla="*/ 0 h 17910017"/>
              <a:gd name="connsiteX0" fmla="*/ 84153 w 21675819"/>
              <a:gd name="connsiteY0" fmla="*/ 0 h 17910017"/>
              <a:gd name="connsiteX1" fmla="*/ 21575855 w 21675819"/>
              <a:gd name="connsiteY1" fmla="*/ 32302 h 17910017"/>
              <a:gd name="connsiteX2" fmla="*/ 21675819 w 21675819"/>
              <a:gd name="connsiteY2" fmla="*/ 17910017 h 17910017"/>
              <a:gd name="connsiteX3" fmla="*/ 0 w 21675819"/>
              <a:gd name="connsiteY3" fmla="*/ 17910017 h 17910017"/>
              <a:gd name="connsiteX4" fmla="*/ 84153 w 21675819"/>
              <a:gd name="connsiteY4" fmla="*/ 0 h 17910017"/>
              <a:gd name="connsiteX0" fmla="*/ 84153 w 21675819"/>
              <a:gd name="connsiteY0" fmla="*/ 0 h 17910017"/>
              <a:gd name="connsiteX1" fmla="*/ 21575855 w 21675819"/>
              <a:gd name="connsiteY1" fmla="*/ 32302 h 17910017"/>
              <a:gd name="connsiteX2" fmla="*/ 21675819 w 21675819"/>
              <a:gd name="connsiteY2" fmla="*/ 17910017 h 17910017"/>
              <a:gd name="connsiteX3" fmla="*/ 0 w 21675819"/>
              <a:gd name="connsiteY3" fmla="*/ 17910017 h 17910017"/>
              <a:gd name="connsiteX4" fmla="*/ 84153 w 21675819"/>
              <a:gd name="connsiteY4" fmla="*/ 0 h 17910017"/>
              <a:gd name="connsiteX0" fmla="*/ 84153 w 21617651"/>
              <a:gd name="connsiteY0" fmla="*/ 0 h 17910017"/>
              <a:gd name="connsiteX1" fmla="*/ 21575855 w 21617651"/>
              <a:gd name="connsiteY1" fmla="*/ 32302 h 17910017"/>
              <a:gd name="connsiteX2" fmla="*/ 21617651 w 21617651"/>
              <a:gd name="connsiteY2" fmla="*/ 17845415 h 17910017"/>
              <a:gd name="connsiteX3" fmla="*/ 0 w 21617651"/>
              <a:gd name="connsiteY3" fmla="*/ 17910017 h 17910017"/>
              <a:gd name="connsiteX4" fmla="*/ 84153 w 21617651"/>
              <a:gd name="connsiteY4" fmla="*/ 0 h 17910017"/>
              <a:gd name="connsiteX0" fmla="*/ 84153 w 21646735"/>
              <a:gd name="connsiteY0" fmla="*/ 0 h 17942319"/>
              <a:gd name="connsiteX1" fmla="*/ 21575855 w 21646735"/>
              <a:gd name="connsiteY1" fmla="*/ 32302 h 17942319"/>
              <a:gd name="connsiteX2" fmla="*/ 21646735 w 21646735"/>
              <a:gd name="connsiteY2" fmla="*/ 17942319 h 17942319"/>
              <a:gd name="connsiteX3" fmla="*/ 0 w 21646735"/>
              <a:gd name="connsiteY3" fmla="*/ 17910017 h 17942319"/>
              <a:gd name="connsiteX4" fmla="*/ 84153 w 21646735"/>
              <a:gd name="connsiteY4" fmla="*/ 0 h 17942319"/>
              <a:gd name="connsiteX0" fmla="*/ 84153 w 21646735"/>
              <a:gd name="connsiteY0" fmla="*/ 0 h 17942322"/>
              <a:gd name="connsiteX1" fmla="*/ 21575855 w 21646735"/>
              <a:gd name="connsiteY1" fmla="*/ 32302 h 17942322"/>
              <a:gd name="connsiteX2" fmla="*/ 21646735 w 21646735"/>
              <a:gd name="connsiteY2" fmla="*/ 17942322 h 17942322"/>
              <a:gd name="connsiteX3" fmla="*/ 0 w 21646735"/>
              <a:gd name="connsiteY3" fmla="*/ 17910017 h 17942322"/>
              <a:gd name="connsiteX4" fmla="*/ 84153 w 21646735"/>
              <a:gd name="connsiteY4" fmla="*/ 0 h 17942322"/>
              <a:gd name="connsiteX0" fmla="*/ 84153 w 21646735"/>
              <a:gd name="connsiteY0" fmla="*/ 0 h 17942322"/>
              <a:gd name="connsiteX1" fmla="*/ 21575855 w 21646735"/>
              <a:gd name="connsiteY1" fmla="*/ 32302 h 17942322"/>
              <a:gd name="connsiteX2" fmla="*/ 21646735 w 21646735"/>
              <a:gd name="connsiteY2" fmla="*/ 17942322 h 17942322"/>
              <a:gd name="connsiteX3" fmla="*/ 0 w 21646735"/>
              <a:gd name="connsiteY3" fmla="*/ 17910017 h 17942322"/>
              <a:gd name="connsiteX4" fmla="*/ 84153 w 21646735"/>
              <a:gd name="connsiteY4" fmla="*/ 0 h 17942322"/>
              <a:gd name="connsiteX0" fmla="*/ 84153 w 21617651"/>
              <a:gd name="connsiteY0" fmla="*/ 0 h 17942322"/>
              <a:gd name="connsiteX1" fmla="*/ 21575855 w 21617651"/>
              <a:gd name="connsiteY1" fmla="*/ 32302 h 17942322"/>
              <a:gd name="connsiteX2" fmla="*/ 21617651 w 21617651"/>
              <a:gd name="connsiteY2" fmla="*/ 17942322 h 17942322"/>
              <a:gd name="connsiteX3" fmla="*/ 0 w 21617651"/>
              <a:gd name="connsiteY3" fmla="*/ 17910017 h 17942322"/>
              <a:gd name="connsiteX4" fmla="*/ 84153 w 21617651"/>
              <a:gd name="connsiteY4" fmla="*/ 0 h 17942322"/>
              <a:gd name="connsiteX0" fmla="*/ 84153 w 21617651"/>
              <a:gd name="connsiteY0" fmla="*/ 0 h 17974621"/>
              <a:gd name="connsiteX1" fmla="*/ 21575855 w 21617651"/>
              <a:gd name="connsiteY1" fmla="*/ 32302 h 17974621"/>
              <a:gd name="connsiteX2" fmla="*/ 21617651 w 21617651"/>
              <a:gd name="connsiteY2" fmla="*/ 17974621 h 17974621"/>
              <a:gd name="connsiteX3" fmla="*/ 0 w 21617651"/>
              <a:gd name="connsiteY3" fmla="*/ 17910017 h 17974621"/>
              <a:gd name="connsiteX4" fmla="*/ 84153 w 21617651"/>
              <a:gd name="connsiteY4" fmla="*/ 0 h 17974621"/>
              <a:gd name="connsiteX0" fmla="*/ 84153 w 21617651"/>
              <a:gd name="connsiteY0" fmla="*/ 0 h 17974621"/>
              <a:gd name="connsiteX1" fmla="*/ 21575855 w 21617651"/>
              <a:gd name="connsiteY1" fmla="*/ 32302 h 17974621"/>
              <a:gd name="connsiteX2" fmla="*/ 21617651 w 21617651"/>
              <a:gd name="connsiteY2" fmla="*/ 17974621 h 17974621"/>
              <a:gd name="connsiteX3" fmla="*/ 0 w 21617651"/>
              <a:gd name="connsiteY3" fmla="*/ 17910017 h 17974621"/>
              <a:gd name="connsiteX4" fmla="*/ 84153 w 21617651"/>
              <a:gd name="connsiteY4" fmla="*/ 0 h 17974621"/>
              <a:gd name="connsiteX0" fmla="*/ 84153 w 21617651"/>
              <a:gd name="connsiteY0" fmla="*/ 64859 h 18039480"/>
              <a:gd name="connsiteX1" fmla="*/ 21575856 w 21617651"/>
              <a:gd name="connsiteY1" fmla="*/ 0 h 18039480"/>
              <a:gd name="connsiteX2" fmla="*/ 21617651 w 21617651"/>
              <a:gd name="connsiteY2" fmla="*/ 18039480 h 18039480"/>
              <a:gd name="connsiteX3" fmla="*/ 0 w 21617651"/>
              <a:gd name="connsiteY3" fmla="*/ 17974876 h 18039480"/>
              <a:gd name="connsiteX4" fmla="*/ 84153 w 21617651"/>
              <a:gd name="connsiteY4" fmla="*/ 64859 h 18039480"/>
              <a:gd name="connsiteX0" fmla="*/ 84153 w 21636807"/>
              <a:gd name="connsiteY0" fmla="*/ 32472 h 18007093"/>
              <a:gd name="connsiteX1" fmla="*/ 21634059 w 21636807"/>
              <a:gd name="connsiteY1" fmla="*/ 0 h 18007093"/>
              <a:gd name="connsiteX2" fmla="*/ 21617651 w 21636807"/>
              <a:gd name="connsiteY2" fmla="*/ 18007093 h 18007093"/>
              <a:gd name="connsiteX3" fmla="*/ 0 w 21636807"/>
              <a:gd name="connsiteY3" fmla="*/ 17942489 h 18007093"/>
              <a:gd name="connsiteX4" fmla="*/ 84153 w 21636807"/>
              <a:gd name="connsiteY4" fmla="*/ 32472 h 18007093"/>
              <a:gd name="connsiteX0" fmla="*/ 84153 w 21636807"/>
              <a:gd name="connsiteY0" fmla="*/ 32472 h 18007093"/>
              <a:gd name="connsiteX1" fmla="*/ 21634059 w 21636807"/>
              <a:gd name="connsiteY1" fmla="*/ 0 h 18007093"/>
              <a:gd name="connsiteX2" fmla="*/ 21617651 w 21636807"/>
              <a:gd name="connsiteY2" fmla="*/ 18007093 h 18007093"/>
              <a:gd name="connsiteX3" fmla="*/ 0 w 21636807"/>
              <a:gd name="connsiteY3" fmla="*/ 17942489 h 18007093"/>
              <a:gd name="connsiteX4" fmla="*/ 84153 w 21636807"/>
              <a:gd name="connsiteY4" fmla="*/ 32472 h 18007093"/>
              <a:gd name="connsiteX0" fmla="*/ 84153 w 21636807"/>
              <a:gd name="connsiteY0" fmla="*/ 32472 h 18007093"/>
              <a:gd name="connsiteX1" fmla="*/ 21634059 w 21636807"/>
              <a:gd name="connsiteY1" fmla="*/ 0 h 18007093"/>
              <a:gd name="connsiteX2" fmla="*/ 21617651 w 21636807"/>
              <a:gd name="connsiteY2" fmla="*/ 18007093 h 18007093"/>
              <a:gd name="connsiteX3" fmla="*/ 0 w 21636807"/>
              <a:gd name="connsiteY3" fmla="*/ 17942489 h 18007093"/>
              <a:gd name="connsiteX4" fmla="*/ 84153 w 21636807"/>
              <a:gd name="connsiteY4" fmla="*/ 32472 h 18007093"/>
              <a:gd name="connsiteX0" fmla="*/ 84153 w 21635827"/>
              <a:gd name="connsiteY0" fmla="*/ 32472 h 18007093"/>
              <a:gd name="connsiteX1" fmla="*/ 21634059 w 21635827"/>
              <a:gd name="connsiteY1" fmla="*/ 0 h 18007093"/>
              <a:gd name="connsiteX2" fmla="*/ 21588550 w 21635827"/>
              <a:gd name="connsiteY2" fmla="*/ 18007093 h 18007093"/>
              <a:gd name="connsiteX3" fmla="*/ 0 w 21635827"/>
              <a:gd name="connsiteY3" fmla="*/ 17942489 h 18007093"/>
              <a:gd name="connsiteX4" fmla="*/ 84153 w 21635827"/>
              <a:gd name="connsiteY4" fmla="*/ 32472 h 18007093"/>
              <a:gd name="connsiteX0" fmla="*/ 84153 w 21636807"/>
              <a:gd name="connsiteY0" fmla="*/ 32472 h 18007093"/>
              <a:gd name="connsiteX1" fmla="*/ 21634059 w 21636807"/>
              <a:gd name="connsiteY1" fmla="*/ 0 h 18007093"/>
              <a:gd name="connsiteX2" fmla="*/ 21617651 w 21636807"/>
              <a:gd name="connsiteY2" fmla="*/ 18007093 h 18007093"/>
              <a:gd name="connsiteX3" fmla="*/ 0 w 21636807"/>
              <a:gd name="connsiteY3" fmla="*/ 17942489 h 18007093"/>
              <a:gd name="connsiteX4" fmla="*/ 84153 w 21636807"/>
              <a:gd name="connsiteY4" fmla="*/ 32472 h 18007093"/>
              <a:gd name="connsiteX0" fmla="*/ 84153 w 21636807"/>
              <a:gd name="connsiteY0" fmla="*/ 32472 h 18007093"/>
              <a:gd name="connsiteX1" fmla="*/ 21634059 w 21636807"/>
              <a:gd name="connsiteY1" fmla="*/ 0 h 18007093"/>
              <a:gd name="connsiteX2" fmla="*/ 21617651 w 21636807"/>
              <a:gd name="connsiteY2" fmla="*/ 18007093 h 18007093"/>
              <a:gd name="connsiteX3" fmla="*/ 0 w 21636807"/>
              <a:gd name="connsiteY3" fmla="*/ 17974873 h 18007093"/>
              <a:gd name="connsiteX4" fmla="*/ 84153 w 21636807"/>
              <a:gd name="connsiteY4" fmla="*/ 32472 h 18007093"/>
              <a:gd name="connsiteX0" fmla="*/ 84153 w 21636807"/>
              <a:gd name="connsiteY0" fmla="*/ 32471 h 18007093"/>
              <a:gd name="connsiteX1" fmla="*/ 21634059 w 21636807"/>
              <a:gd name="connsiteY1" fmla="*/ 0 h 18007093"/>
              <a:gd name="connsiteX2" fmla="*/ 21617651 w 21636807"/>
              <a:gd name="connsiteY2" fmla="*/ 18007093 h 18007093"/>
              <a:gd name="connsiteX3" fmla="*/ 0 w 21636807"/>
              <a:gd name="connsiteY3" fmla="*/ 17974873 h 18007093"/>
              <a:gd name="connsiteX4" fmla="*/ 84153 w 21636807"/>
              <a:gd name="connsiteY4" fmla="*/ 32471 h 18007093"/>
              <a:gd name="connsiteX0" fmla="*/ 55054 w 21636807"/>
              <a:gd name="connsiteY0" fmla="*/ 32471 h 18007093"/>
              <a:gd name="connsiteX1" fmla="*/ 21634059 w 21636807"/>
              <a:gd name="connsiteY1" fmla="*/ 0 h 18007093"/>
              <a:gd name="connsiteX2" fmla="*/ 21617651 w 21636807"/>
              <a:gd name="connsiteY2" fmla="*/ 18007093 h 18007093"/>
              <a:gd name="connsiteX3" fmla="*/ 0 w 21636807"/>
              <a:gd name="connsiteY3" fmla="*/ 17974873 h 18007093"/>
              <a:gd name="connsiteX4" fmla="*/ 55054 w 21636807"/>
              <a:gd name="connsiteY4" fmla="*/ 32471 h 18007093"/>
              <a:gd name="connsiteX0" fmla="*/ 84155 w 21665908"/>
              <a:gd name="connsiteY0" fmla="*/ 32471 h 18007093"/>
              <a:gd name="connsiteX1" fmla="*/ 21663160 w 21665908"/>
              <a:gd name="connsiteY1" fmla="*/ 0 h 18007093"/>
              <a:gd name="connsiteX2" fmla="*/ 21646752 w 21665908"/>
              <a:gd name="connsiteY2" fmla="*/ 18007093 h 18007093"/>
              <a:gd name="connsiteX3" fmla="*/ 0 w 21665908"/>
              <a:gd name="connsiteY3" fmla="*/ 17974873 h 18007093"/>
              <a:gd name="connsiteX4" fmla="*/ 84155 w 21665908"/>
              <a:gd name="connsiteY4" fmla="*/ 32471 h 18007093"/>
              <a:gd name="connsiteX0" fmla="*/ 391 w 21582144"/>
              <a:gd name="connsiteY0" fmla="*/ 32471 h 18007093"/>
              <a:gd name="connsiteX1" fmla="*/ 21579396 w 21582144"/>
              <a:gd name="connsiteY1" fmla="*/ 0 h 18007093"/>
              <a:gd name="connsiteX2" fmla="*/ 21562988 w 21582144"/>
              <a:gd name="connsiteY2" fmla="*/ 18007093 h 18007093"/>
              <a:gd name="connsiteX3" fmla="*/ 32639 w 21582144"/>
              <a:gd name="connsiteY3" fmla="*/ 17877714 h 18007093"/>
              <a:gd name="connsiteX4" fmla="*/ 391 w 21582144"/>
              <a:gd name="connsiteY4" fmla="*/ 32471 h 18007093"/>
              <a:gd name="connsiteX0" fmla="*/ 391 w 21582144"/>
              <a:gd name="connsiteY0" fmla="*/ 32471 h 18039648"/>
              <a:gd name="connsiteX1" fmla="*/ 21579396 w 21582144"/>
              <a:gd name="connsiteY1" fmla="*/ 0 h 18039648"/>
              <a:gd name="connsiteX2" fmla="*/ 21562988 w 21582144"/>
              <a:gd name="connsiteY2" fmla="*/ 18007093 h 18039648"/>
              <a:gd name="connsiteX3" fmla="*/ 32639 w 21582144"/>
              <a:gd name="connsiteY3" fmla="*/ 18039648 h 18039648"/>
              <a:gd name="connsiteX4" fmla="*/ 391 w 21582144"/>
              <a:gd name="connsiteY4" fmla="*/ 32471 h 18039648"/>
              <a:gd name="connsiteX0" fmla="*/ 391 w 21582144"/>
              <a:gd name="connsiteY0" fmla="*/ 32471 h 18039648"/>
              <a:gd name="connsiteX1" fmla="*/ 21579396 w 21582144"/>
              <a:gd name="connsiteY1" fmla="*/ 0 h 18039648"/>
              <a:gd name="connsiteX2" fmla="*/ 21562988 w 21582144"/>
              <a:gd name="connsiteY2" fmla="*/ 18007093 h 18039648"/>
              <a:gd name="connsiteX3" fmla="*/ 32639 w 21582144"/>
              <a:gd name="connsiteY3" fmla="*/ 18039648 h 18039648"/>
              <a:gd name="connsiteX4" fmla="*/ 391 w 21582144"/>
              <a:gd name="connsiteY4" fmla="*/ 32471 h 18039648"/>
              <a:gd name="connsiteX0" fmla="*/ 391 w 21582144"/>
              <a:gd name="connsiteY0" fmla="*/ 32471 h 18039648"/>
              <a:gd name="connsiteX1" fmla="*/ 21579396 w 21582144"/>
              <a:gd name="connsiteY1" fmla="*/ 0 h 18039648"/>
              <a:gd name="connsiteX2" fmla="*/ 21562988 w 21582144"/>
              <a:gd name="connsiteY2" fmla="*/ 18007093 h 18039648"/>
              <a:gd name="connsiteX3" fmla="*/ 32639 w 21582144"/>
              <a:gd name="connsiteY3" fmla="*/ 18039648 h 18039648"/>
              <a:gd name="connsiteX4" fmla="*/ 391 w 21582144"/>
              <a:gd name="connsiteY4" fmla="*/ 32471 h 18039648"/>
              <a:gd name="connsiteX0" fmla="*/ 1109 w 21582862"/>
              <a:gd name="connsiteY0" fmla="*/ 32471 h 18039648"/>
              <a:gd name="connsiteX1" fmla="*/ 21580114 w 21582862"/>
              <a:gd name="connsiteY1" fmla="*/ 0 h 18039648"/>
              <a:gd name="connsiteX2" fmla="*/ 21563706 w 21582862"/>
              <a:gd name="connsiteY2" fmla="*/ 18007093 h 18039648"/>
              <a:gd name="connsiteX3" fmla="*/ 4258 w 21582862"/>
              <a:gd name="connsiteY3" fmla="*/ 18039648 h 18039648"/>
              <a:gd name="connsiteX4" fmla="*/ 1109 w 21582862"/>
              <a:gd name="connsiteY4" fmla="*/ 32471 h 18039648"/>
              <a:gd name="connsiteX0" fmla="*/ 25953 w 21578604"/>
              <a:gd name="connsiteY0" fmla="*/ 32471 h 18039648"/>
              <a:gd name="connsiteX1" fmla="*/ 21575856 w 21578604"/>
              <a:gd name="connsiteY1" fmla="*/ 0 h 18039648"/>
              <a:gd name="connsiteX2" fmla="*/ 21559448 w 21578604"/>
              <a:gd name="connsiteY2" fmla="*/ 18007093 h 18039648"/>
              <a:gd name="connsiteX3" fmla="*/ 0 w 21578604"/>
              <a:gd name="connsiteY3" fmla="*/ 18039648 h 18039648"/>
              <a:gd name="connsiteX4" fmla="*/ 25953 w 21578604"/>
              <a:gd name="connsiteY4" fmla="*/ 32471 h 18039648"/>
              <a:gd name="connsiteX0" fmla="*/ 25953 w 21578604"/>
              <a:gd name="connsiteY0" fmla="*/ 32471 h 18039648"/>
              <a:gd name="connsiteX1" fmla="*/ 21575856 w 21578604"/>
              <a:gd name="connsiteY1" fmla="*/ 0 h 18039648"/>
              <a:gd name="connsiteX2" fmla="*/ 21559448 w 21578604"/>
              <a:gd name="connsiteY2" fmla="*/ 18007093 h 18039648"/>
              <a:gd name="connsiteX3" fmla="*/ 0 w 21578604"/>
              <a:gd name="connsiteY3" fmla="*/ 18039648 h 18039648"/>
              <a:gd name="connsiteX4" fmla="*/ 25953 w 21578604"/>
              <a:gd name="connsiteY4" fmla="*/ 32471 h 18039648"/>
              <a:gd name="connsiteX0" fmla="*/ 25953 w 21578604"/>
              <a:gd name="connsiteY0" fmla="*/ 84 h 18039648"/>
              <a:gd name="connsiteX1" fmla="*/ 21575856 w 21578604"/>
              <a:gd name="connsiteY1" fmla="*/ 0 h 18039648"/>
              <a:gd name="connsiteX2" fmla="*/ 21559448 w 21578604"/>
              <a:gd name="connsiteY2" fmla="*/ 18007093 h 18039648"/>
              <a:gd name="connsiteX3" fmla="*/ 0 w 21578604"/>
              <a:gd name="connsiteY3" fmla="*/ 18039648 h 18039648"/>
              <a:gd name="connsiteX4" fmla="*/ 25953 w 21578604"/>
              <a:gd name="connsiteY4" fmla="*/ 84 h 18039648"/>
              <a:gd name="connsiteX0" fmla="*/ 1110 w 21582860"/>
              <a:gd name="connsiteY0" fmla="*/ 84 h 18039648"/>
              <a:gd name="connsiteX1" fmla="*/ 21580112 w 21582860"/>
              <a:gd name="connsiteY1" fmla="*/ 0 h 18039648"/>
              <a:gd name="connsiteX2" fmla="*/ 21563704 w 21582860"/>
              <a:gd name="connsiteY2" fmla="*/ 18007093 h 18039648"/>
              <a:gd name="connsiteX3" fmla="*/ 4256 w 21582860"/>
              <a:gd name="connsiteY3" fmla="*/ 18039648 h 18039648"/>
              <a:gd name="connsiteX4" fmla="*/ 1110 w 21582860"/>
              <a:gd name="connsiteY4" fmla="*/ 84 h 18039648"/>
              <a:gd name="connsiteX0" fmla="*/ 1109 w 21582860"/>
              <a:gd name="connsiteY0" fmla="*/ 84 h 18039648"/>
              <a:gd name="connsiteX1" fmla="*/ 21580112 w 21582860"/>
              <a:gd name="connsiteY1" fmla="*/ 0 h 18039648"/>
              <a:gd name="connsiteX2" fmla="*/ 21563704 w 21582860"/>
              <a:gd name="connsiteY2" fmla="*/ 18007093 h 18039648"/>
              <a:gd name="connsiteX3" fmla="*/ 4256 w 21582860"/>
              <a:gd name="connsiteY3" fmla="*/ 18039648 h 18039648"/>
              <a:gd name="connsiteX4" fmla="*/ 1109 w 21582860"/>
              <a:gd name="connsiteY4" fmla="*/ 84 h 18039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582860" h="18039648">
                <a:moveTo>
                  <a:pt x="1109" y="84"/>
                </a:moveTo>
                <a:lnTo>
                  <a:pt x="21580112" y="0"/>
                </a:lnTo>
                <a:cubicBezTo>
                  <a:pt x="21594044" y="6013160"/>
                  <a:pt x="21549772" y="11993933"/>
                  <a:pt x="21563704" y="18007093"/>
                </a:cubicBezTo>
                <a:lnTo>
                  <a:pt x="4256" y="18039648"/>
                </a:lnTo>
                <a:cubicBezTo>
                  <a:pt x="9092" y="15558915"/>
                  <a:pt x="-3727" y="2480817"/>
                  <a:pt x="1109" y="84"/>
                </a:cubicBezTo>
                <a:close/>
              </a:path>
            </a:pathLst>
          </a:custGeom>
          <a:gradFill>
            <a:gsLst>
              <a:gs pos="0">
                <a:schemeClr val="accent3">
                  <a:lumMod val="50000"/>
                </a:schemeClr>
              </a:gs>
              <a:gs pos="0">
                <a:schemeClr val="tx2"/>
              </a:gs>
              <a:gs pos="100000">
                <a:schemeClr val="accent3"/>
              </a:gs>
            </a:gsLst>
            <a:lin ang="162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96203"/>
            <a:endParaRPr lang="en-GB" sz="1568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" name="doc id">
            <a:extLst>
              <a:ext uri="{FF2B5EF4-FFF2-40B4-BE49-F238E27FC236}">
                <a16:creationId xmlns:a16="http://schemas.microsoft.com/office/drawing/2014/main" id="{B77C1644-D4CF-492B-85C4-12A5D691C8AD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259050" y="36513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784" baseline="0" dirty="0">
              <a:solidFill>
                <a:srgbClr val="FFFFFF"/>
              </a:solidFill>
              <a:latin typeface="+mn-lt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8CCE9413-6DFB-6A44-BC3B-721B849A7F51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 r="27807"/>
          <a:stretch>
            <a:fillRect/>
          </a:stretch>
        </p:blipFill>
        <p:spPr>
          <a:xfrm flipH="1" flipV="1">
            <a:off x="7391399" y="-301404"/>
            <a:ext cx="4446305" cy="4245379"/>
          </a:xfrm>
          <a:custGeom>
            <a:avLst/>
            <a:gdLst>
              <a:gd name="connsiteX0" fmla="*/ 0 w 5994518"/>
              <a:gd name="connsiteY0" fmla="*/ 0 h 6242845"/>
              <a:gd name="connsiteX1" fmla="*/ 26078 w 5994518"/>
              <a:gd name="connsiteY1" fmla="*/ 0 h 6242845"/>
              <a:gd name="connsiteX2" fmla="*/ 5994518 w 5994518"/>
              <a:gd name="connsiteY2" fmla="*/ 6242845 h 6242845"/>
              <a:gd name="connsiteX3" fmla="*/ 0 w 5994518"/>
              <a:gd name="connsiteY3" fmla="*/ 6242845 h 6242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94518" h="6242845">
                <a:moveTo>
                  <a:pt x="0" y="0"/>
                </a:moveTo>
                <a:lnTo>
                  <a:pt x="26078" y="0"/>
                </a:lnTo>
                <a:lnTo>
                  <a:pt x="5994518" y="6242845"/>
                </a:lnTo>
                <a:lnTo>
                  <a:pt x="0" y="6242845"/>
                </a:lnTo>
                <a:close/>
              </a:path>
            </a:pathLst>
          </a:cu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843FCD4-4E00-4140-AF59-0D0322E2CD1D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 r="27807"/>
          <a:stretch>
            <a:fillRect/>
          </a:stretch>
        </p:blipFill>
        <p:spPr>
          <a:xfrm>
            <a:off x="111409" y="2777535"/>
            <a:ext cx="4446305" cy="4245379"/>
          </a:xfrm>
          <a:custGeom>
            <a:avLst/>
            <a:gdLst>
              <a:gd name="connsiteX0" fmla="*/ 0 w 5994518"/>
              <a:gd name="connsiteY0" fmla="*/ 0 h 6242845"/>
              <a:gd name="connsiteX1" fmla="*/ 26078 w 5994518"/>
              <a:gd name="connsiteY1" fmla="*/ 0 h 6242845"/>
              <a:gd name="connsiteX2" fmla="*/ 5994518 w 5994518"/>
              <a:gd name="connsiteY2" fmla="*/ 6242845 h 6242845"/>
              <a:gd name="connsiteX3" fmla="*/ 0 w 5994518"/>
              <a:gd name="connsiteY3" fmla="*/ 6242845 h 6242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94518" h="6242845">
                <a:moveTo>
                  <a:pt x="0" y="0"/>
                </a:moveTo>
                <a:lnTo>
                  <a:pt x="26078" y="0"/>
                </a:lnTo>
                <a:lnTo>
                  <a:pt x="5994518" y="6242845"/>
                </a:lnTo>
                <a:lnTo>
                  <a:pt x="0" y="6242845"/>
                </a:lnTo>
                <a:close/>
              </a:path>
            </a:pathLst>
          </a:cu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EF8D380-1A23-E94A-BE89-22E198C99E81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alphaModFix amt="15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3382" b="98068" l="4918" r="95902">
                        <a14:foregroundMark x1="42623" y1="60386" x2="42623" y2="60386"/>
                        <a14:foregroundMark x1="49180" y1="59420" x2="49180" y2="59420"/>
                        <a14:foregroundMark x1="49180" y1="58454" x2="49180" y2="58454"/>
                        <a14:foregroundMark x1="49180" y1="58454" x2="49180" y2="58454"/>
                        <a14:foregroundMark x1="49180" y1="58454" x2="49180" y2="58454"/>
                        <a14:foregroundMark x1="49180" y1="56039" x2="49180" y2="56039"/>
                        <a14:foregroundMark x1="49180" y1="56039" x2="49180" y2="56039"/>
                        <a14:foregroundMark x1="75000" y1="91304" x2="75000" y2="91304"/>
                        <a14:foregroundMark x1="75000" y1="91304" x2="75000" y2="91304"/>
                        <a14:foregroundMark x1="77869" y1="90338" x2="77869" y2="90338"/>
                        <a14:foregroundMark x1="77869" y1="90338" x2="77869" y2="90338"/>
                        <a14:foregroundMark x1="70492" y1="98068" x2="70492" y2="98068"/>
                        <a14:foregroundMark x1="70492" y1="98068" x2="70492" y2="98068"/>
                        <a14:foregroundMark x1="49180" y1="56039" x2="49180" y2="56039"/>
                        <a14:foregroundMark x1="49180" y1="56039" x2="49180" y2="56039"/>
                        <a14:foregroundMark x1="42213" y1="50725" x2="42213" y2="50725"/>
                        <a14:foregroundMark x1="42213" y1="50725" x2="42213" y2="50725"/>
                        <a14:foregroundMark x1="42213" y1="50725" x2="42213" y2="50725"/>
                        <a14:foregroundMark x1="54508" y1="23188" x2="54508" y2="23188"/>
                        <a14:foregroundMark x1="51230" y1="25121" x2="51230" y2="25121"/>
                        <a14:foregroundMark x1="51230" y1="25121" x2="51230" y2="25121"/>
                        <a14:foregroundMark x1="51230" y1="25121" x2="51230" y2="25121"/>
                        <a14:foregroundMark x1="45902" y1="11594" x2="45902" y2="11594"/>
                        <a14:foregroundMark x1="45902" y1="11594" x2="45902" y2="11594"/>
                        <a14:foregroundMark x1="52869" y1="15459" x2="52869" y2="15459"/>
                        <a14:foregroundMark x1="52869" y1="15459" x2="52869" y2="15459"/>
                        <a14:foregroundMark x1="59836" y1="14976" x2="59836" y2="14976"/>
                        <a14:foregroundMark x1="59836" y1="14976" x2="59836" y2="14976"/>
                        <a14:foregroundMark x1="59426" y1="8696" x2="59426" y2="8696"/>
                        <a14:foregroundMark x1="59426" y1="8696" x2="59426" y2="8696"/>
                        <a14:foregroundMark x1="58197" y1="3382" x2="58197" y2="3382"/>
                        <a14:foregroundMark x1="58197" y1="3382" x2="58197" y2="3382"/>
                        <a14:foregroundMark x1="49180" y1="52657" x2="49180" y2="52657"/>
                        <a14:foregroundMark x1="49180" y1="52657" x2="49180" y2="52657"/>
                        <a14:foregroundMark x1="48361" y1="65217" x2="48361" y2="65217"/>
                        <a14:foregroundMark x1="48361" y1="65217" x2="48361" y2="65217"/>
                        <a14:foregroundMark x1="86885" y1="29469" x2="86885" y2="29469"/>
                        <a14:foregroundMark x1="86885" y1="29469" x2="86885" y2="29469"/>
                        <a14:foregroundMark x1="88525" y1="54589" x2="88525" y2="54589"/>
                        <a14:foregroundMark x1="88525" y1="54589" x2="88525" y2="54589"/>
                        <a14:foregroundMark x1="89344" y1="52657" x2="89344" y2="52657"/>
                        <a14:foregroundMark x1="89344" y1="52657" x2="89344" y2="52657"/>
                        <a14:foregroundMark x1="92623" y1="57005" x2="92623" y2="57005"/>
                        <a14:foregroundMark x1="92623" y1="57005" x2="92623" y2="57005"/>
                        <a14:foregroundMark x1="94672" y1="61836" x2="94672" y2="61836"/>
                        <a14:foregroundMark x1="94672" y1="61836" x2="94672" y2="61836"/>
                        <a14:foregroundMark x1="95902" y1="62802" x2="95902" y2="62802"/>
                        <a14:foregroundMark x1="95902" y1="62802" x2="95902" y2="62802"/>
                        <a14:foregroundMark x1="48361" y1="79227" x2="48361" y2="79227"/>
                        <a14:foregroundMark x1="48361" y1="79227" x2="48361" y2="79227"/>
                        <a14:foregroundMark x1="4918" y1="55556" x2="4918" y2="55556"/>
                        <a14:foregroundMark x1="4918" y1="55556" x2="4918" y2="55556"/>
                        <a14:foregroundMark x1="40984" y1="16908" x2="40984" y2="16908"/>
                        <a14:foregroundMark x1="40984" y1="16908" x2="40984" y2="16908"/>
                        <a14:foregroundMark x1="52049" y1="31884" x2="52049" y2="31884"/>
                        <a14:foregroundMark x1="47541" y1="31884" x2="47541" y2="31884"/>
                        <a14:foregroundMark x1="47541" y1="31884" x2="47541" y2="31884"/>
                        <a14:foregroundMark x1="54918" y1="38164" x2="54918" y2="38164"/>
                        <a14:foregroundMark x1="46311" y1="37681" x2="46311" y2="37681"/>
                        <a14:foregroundMark x1="46311" y1="37681" x2="46311" y2="37681"/>
                        <a14:foregroundMark x1="46311" y1="37681" x2="46311" y2="37681"/>
                        <a14:foregroundMark x1="45082" y1="36715" x2="45082" y2="36715"/>
                        <a14:foregroundMark x1="47131" y1="37681" x2="47131" y2="37681"/>
                        <a14:foregroundMark x1="46721" y1="37198" x2="46721" y2="37198"/>
                        <a14:foregroundMark x1="46721" y1="37198" x2="46721" y2="37198"/>
                        <a14:foregroundMark x1="39754" y1="40097" x2="39754" y2="40097"/>
                        <a14:foregroundMark x1="39754" y1="40097" x2="39754" y2="40097"/>
                        <a14:foregroundMark x1="39344" y1="38647" x2="39344" y2="38647"/>
                        <a14:foregroundMark x1="39344" y1="38647" x2="39344" y2="38647"/>
                        <a14:backgroundMark x1="49590" y1="41063" x2="49590" y2="41063"/>
                        <a14:backgroundMark x1="49590" y1="41063" x2="49590" y2="41063"/>
                        <a14:backgroundMark x1="49590" y1="41063" x2="49590" y2="41063"/>
                        <a14:backgroundMark x1="45082" y1="42512" x2="45082" y2="42512"/>
                        <a14:backgroundMark x1="46721" y1="40097" x2="46721" y2="40097"/>
                        <a14:backgroundMark x1="46721" y1="40097" x2="46721" y2="40097"/>
                        <a14:backgroundMark x1="49590" y1="30918" x2="49590" y2="30918"/>
                        <a14:backgroundMark x1="49590" y1="30918" x2="49590" y2="30918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425156" y="2046287"/>
            <a:ext cx="3098800" cy="2628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445997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PRP White E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251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D27C6C-F961-4DDE-91AE-F7106FF284A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259050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1067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noProof="0" dirty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781424" y="6254081"/>
            <a:ext cx="5120516" cy="380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ZA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ZA" sz="800" baseline="0" dirty="0">
                <a:solidFill>
                  <a:schemeClr val="bg1"/>
                </a:solidFill>
                <a:latin typeface="+mn-lt"/>
              </a:rPr>
              <a:t>Any use of this material without specific permission is strictly prohibited</a:t>
            </a:r>
            <a:endParaRPr lang="en-US" sz="800" baseline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Working Draft Text" hidden="1">
            <a:extLst>
              <a:ext uri="{FF2B5EF4-FFF2-40B4-BE49-F238E27FC236}">
                <a16:creationId xmlns:a16="http://schemas.microsoft.com/office/drawing/2014/main" id="{8B36C022-4CD7-4AE3-9EB9-C2A7C0991460}"/>
              </a:ext>
            </a:extLst>
          </p:cNvPr>
          <p:cNvSpPr txBox="1"/>
          <p:nvPr/>
        </p:nvSpPr>
        <p:spPr>
          <a:xfrm>
            <a:off x="8064500" y="6223000"/>
            <a:ext cx="1066318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ZA" sz="800" b="1" dirty="0">
                <a:solidFill>
                  <a:srgbClr val="FFFFFF"/>
                </a:solidFill>
              </a:rPr>
              <a:t>WORKING DRAFT</a:t>
            </a:r>
          </a:p>
        </p:txBody>
      </p:sp>
      <p:sp>
        <p:nvSpPr>
          <p:cNvPr id="8" name="Working Draft" hidden="1">
            <a:extLst>
              <a:ext uri="{FF2B5EF4-FFF2-40B4-BE49-F238E27FC236}">
                <a16:creationId xmlns:a16="http://schemas.microsoft.com/office/drawing/2014/main" id="{1499DE9C-1052-42CC-A648-F322B77CCA05}"/>
              </a:ext>
            </a:extLst>
          </p:cNvPr>
          <p:cNvSpPr txBox="1"/>
          <p:nvPr/>
        </p:nvSpPr>
        <p:spPr>
          <a:xfrm>
            <a:off x="8064500" y="6350000"/>
            <a:ext cx="3214341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2020/03/08 22:31 W. Central Africa Standard Time</a:t>
            </a:r>
            <a:endParaRPr lang="en-ZA" sz="800" dirty="0">
              <a:solidFill>
                <a:srgbClr val="FFFFFF"/>
              </a:solidFill>
            </a:endParaRPr>
          </a:p>
        </p:txBody>
      </p:sp>
      <p:sp>
        <p:nvSpPr>
          <p:cNvPr id="9" name="Printed" hidden="1">
            <a:extLst>
              <a:ext uri="{FF2B5EF4-FFF2-40B4-BE49-F238E27FC236}">
                <a16:creationId xmlns:a16="http://schemas.microsoft.com/office/drawing/2014/main" id="{9598A30F-8710-45D8-9018-9E04EB86EFEC}"/>
              </a:ext>
            </a:extLst>
          </p:cNvPr>
          <p:cNvSpPr txBox="1"/>
          <p:nvPr/>
        </p:nvSpPr>
        <p:spPr>
          <a:xfrm>
            <a:off x="8064500" y="6477000"/>
            <a:ext cx="511679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ZA" sz="800" dirty="0">
                <a:solidFill>
                  <a:srgbClr val="FFFFFF"/>
                </a:solidFill>
              </a:rPr>
              <a:t>Printed</a:t>
            </a:r>
          </a:p>
        </p:txBody>
      </p:sp>
      <p:sp>
        <p:nvSpPr>
          <p:cNvPr id="21" name="doc id">
            <a:extLst>
              <a:ext uri="{FF2B5EF4-FFF2-40B4-BE49-F238E27FC236}">
                <a16:creationId xmlns:a16="http://schemas.microsoft.com/office/drawing/2014/main" id="{B77C1644-D4CF-492B-85C4-12A5D691C8AD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259050" y="36513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784" baseline="0" dirty="0">
              <a:solidFill>
                <a:srgbClr val="FFFFFF"/>
              </a:solidFill>
              <a:latin typeface="+mn-lt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8CCE9413-6DFB-6A44-BC3B-721B849A7F51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 r="27807"/>
          <a:stretch>
            <a:fillRect/>
          </a:stretch>
        </p:blipFill>
        <p:spPr>
          <a:xfrm flipH="1" flipV="1">
            <a:off x="7391399" y="-301404"/>
            <a:ext cx="4446305" cy="4245379"/>
          </a:xfrm>
          <a:custGeom>
            <a:avLst/>
            <a:gdLst>
              <a:gd name="connsiteX0" fmla="*/ 0 w 5994518"/>
              <a:gd name="connsiteY0" fmla="*/ 0 h 6242845"/>
              <a:gd name="connsiteX1" fmla="*/ 26078 w 5994518"/>
              <a:gd name="connsiteY1" fmla="*/ 0 h 6242845"/>
              <a:gd name="connsiteX2" fmla="*/ 5994518 w 5994518"/>
              <a:gd name="connsiteY2" fmla="*/ 6242845 h 6242845"/>
              <a:gd name="connsiteX3" fmla="*/ 0 w 5994518"/>
              <a:gd name="connsiteY3" fmla="*/ 6242845 h 6242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94518" h="6242845">
                <a:moveTo>
                  <a:pt x="0" y="0"/>
                </a:moveTo>
                <a:lnTo>
                  <a:pt x="26078" y="0"/>
                </a:lnTo>
                <a:lnTo>
                  <a:pt x="5994518" y="6242845"/>
                </a:lnTo>
                <a:lnTo>
                  <a:pt x="0" y="6242845"/>
                </a:lnTo>
                <a:close/>
              </a:path>
            </a:pathLst>
          </a:cu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843FCD4-4E00-4140-AF59-0D0322E2CD1D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 r="27807"/>
          <a:stretch>
            <a:fillRect/>
          </a:stretch>
        </p:blipFill>
        <p:spPr>
          <a:xfrm>
            <a:off x="111409" y="2777535"/>
            <a:ext cx="4446305" cy="4245379"/>
          </a:xfrm>
          <a:custGeom>
            <a:avLst/>
            <a:gdLst>
              <a:gd name="connsiteX0" fmla="*/ 0 w 5994518"/>
              <a:gd name="connsiteY0" fmla="*/ 0 h 6242845"/>
              <a:gd name="connsiteX1" fmla="*/ 26078 w 5994518"/>
              <a:gd name="connsiteY1" fmla="*/ 0 h 6242845"/>
              <a:gd name="connsiteX2" fmla="*/ 5994518 w 5994518"/>
              <a:gd name="connsiteY2" fmla="*/ 6242845 h 6242845"/>
              <a:gd name="connsiteX3" fmla="*/ 0 w 5994518"/>
              <a:gd name="connsiteY3" fmla="*/ 6242845 h 6242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94518" h="6242845">
                <a:moveTo>
                  <a:pt x="0" y="0"/>
                </a:moveTo>
                <a:lnTo>
                  <a:pt x="26078" y="0"/>
                </a:lnTo>
                <a:lnTo>
                  <a:pt x="5994518" y="6242845"/>
                </a:lnTo>
                <a:lnTo>
                  <a:pt x="0" y="6242845"/>
                </a:lnTo>
                <a:close/>
              </a:path>
            </a:pathLst>
          </a:cu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F5FB2F39-7441-8D45-9C0D-877D4FFA830C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alphaModFix amt="15000"/>
          </a:blip>
          <a:stretch>
            <a:fillRect/>
          </a:stretch>
        </p:blipFill>
        <p:spPr>
          <a:xfrm>
            <a:off x="4425156" y="2046287"/>
            <a:ext cx="3098800" cy="2628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52803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PRP Agenda Defaul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5256928"/>
              </p:ext>
            </p:ext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72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/>
          <p:cNvSpPr txBox="1"/>
          <p:nvPr userDrawn="1"/>
        </p:nvSpPr>
        <p:spPr>
          <a:xfrm>
            <a:off x="617449" y="889138"/>
            <a:ext cx="3380094" cy="119617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599808" tIns="458677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endParaRPr lang="en-US" sz="5293" dirty="0">
              <a:solidFill>
                <a:srgbClr val="333A5E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1D14662-5EA6-6946-B18A-007366D18E8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26760" y="889138"/>
            <a:ext cx="5036365" cy="5012380"/>
          </a:xfrm>
        </p:spPr>
        <p:txBody>
          <a:bodyPr>
            <a:normAutofit/>
          </a:bodyPr>
          <a:lstStyle>
            <a:lvl1pPr>
              <a:defRPr sz="2352">
                <a:solidFill>
                  <a:srgbClr val="176739"/>
                </a:solidFill>
              </a:defRPr>
            </a:lvl1pPr>
            <a:lvl2pPr>
              <a:defRPr sz="2352">
                <a:solidFill>
                  <a:srgbClr val="176739"/>
                </a:solidFill>
              </a:defRPr>
            </a:lvl2pPr>
            <a:lvl3pPr>
              <a:defRPr sz="2352">
                <a:solidFill>
                  <a:srgbClr val="176739"/>
                </a:solidFill>
              </a:defRPr>
            </a:lvl3pPr>
            <a:lvl4pPr>
              <a:defRPr sz="2352">
                <a:solidFill>
                  <a:srgbClr val="176739"/>
                </a:solidFill>
              </a:defRPr>
            </a:lvl4pPr>
            <a:lvl5pPr>
              <a:defRPr sz="2352">
                <a:solidFill>
                  <a:srgbClr val="176739"/>
                </a:solidFill>
              </a:defRPr>
            </a:lvl5pPr>
          </a:lstStyle>
          <a:p>
            <a:pPr lvl="0"/>
            <a:r>
              <a:rPr lang="en-GB" dirty="0"/>
              <a:t>Click to edit first level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6" name="TextBox 1">
            <a:extLst>
              <a:ext uri="{FF2B5EF4-FFF2-40B4-BE49-F238E27FC236}">
                <a16:creationId xmlns:a16="http://schemas.microsoft.com/office/drawing/2014/main" id="{31A8A388-A6D7-A649-92B5-BCAA6FD26AF6}"/>
              </a:ext>
            </a:extLst>
          </p:cNvPr>
          <p:cNvSpPr txBox="1"/>
          <p:nvPr userDrawn="1"/>
        </p:nvSpPr>
        <p:spPr>
          <a:xfrm>
            <a:off x="786887" y="2553776"/>
            <a:ext cx="3167855" cy="14678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algn="l"/>
            <a:r>
              <a:rPr lang="en-US" sz="4704" dirty="0">
                <a:solidFill>
                  <a:srgbClr val="176739"/>
                </a:solidFill>
                <a:latin typeface="Century Gothic" panose="020B0502020202020204" pitchFamily="34" charset="0"/>
              </a:rPr>
              <a:t>Executive </a:t>
            </a:r>
          </a:p>
          <a:p>
            <a:pPr algn="l"/>
            <a:r>
              <a:rPr lang="en-US" sz="4704" dirty="0">
                <a:solidFill>
                  <a:srgbClr val="176739"/>
                </a:solidFill>
                <a:latin typeface="Century Gothic" panose="020B0502020202020204" pitchFamily="34" charset="0"/>
              </a:rPr>
              <a:t>Summary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52376E7-1A8F-C84C-BAEE-02F6895BABC5}"/>
              </a:ext>
            </a:extLst>
          </p:cNvPr>
          <p:cNvCxnSpPr/>
          <p:nvPr userDrawn="1"/>
        </p:nvCxnSpPr>
        <p:spPr>
          <a:xfrm>
            <a:off x="3998596" y="478359"/>
            <a:ext cx="0" cy="5776347"/>
          </a:xfrm>
          <a:prstGeom prst="line">
            <a:avLst/>
          </a:prstGeom>
          <a:ln w="38100">
            <a:solidFill>
              <a:srgbClr val="1767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E80734B1-0579-7A44-9CE0-4E72C6BB012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 r="27807"/>
          <a:stretch>
            <a:fillRect/>
          </a:stretch>
        </p:blipFill>
        <p:spPr>
          <a:xfrm flipH="1">
            <a:off x="7391399" y="2857817"/>
            <a:ext cx="4446305" cy="4245379"/>
          </a:xfrm>
          <a:custGeom>
            <a:avLst/>
            <a:gdLst>
              <a:gd name="connsiteX0" fmla="*/ 0 w 5994518"/>
              <a:gd name="connsiteY0" fmla="*/ 0 h 6242845"/>
              <a:gd name="connsiteX1" fmla="*/ 26078 w 5994518"/>
              <a:gd name="connsiteY1" fmla="*/ 0 h 6242845"/>
              <a:gd name="connsiteX2" fmla="*/ 5994518 w 5994518"/>
              <a:gd name="connsiteY2" fmla="*/ 6242845 h 6242845"/>
              <a:gd name="connsiteX3" fmla="*/ 0 w 5994518"/>
              <a:gd name="connsiteY3" fmla="*/ 6242845 h 6242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94518" h="6242845">
                <a:moveTo>
                  <a:pt x="0" y="0"/>
                </a:moveTo>
                <a:lnTo>
                  <a:pt x="26078" y="0"/>
                </a:lnTo>
                <a:lnTo>
                  <a:pt x="5994518" y="6242845"/>
                </a:lnTo>
                <a:lnTo>
                  <a:pt x="0" y="62428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8095603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8DE302D-FDCC-384B-9D85-2C2C1907AD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C7BD74-1AF3-5447-97C6-A23E7FCF3A6D}" type="datetimeFigureOut">
              <a:rPr lang="en-US" smtClean="0"/>
              <a:t>10/26/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7F31A71-E7D9-C942-929F-9723F8BB77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9E8D53-720B-1A4D-A4B8-4B7010389B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D65D29-529B-404E-8088-2FA80C2E0D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99997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PRP Agenda Invers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8281482"/>
              </p:ext>
            </p:ext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10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1"/>
          <p:cNvSpPr txBox="1"/>
          <p:nvPr userDrawn="1"/>
        </p:nvSpPr>
        <p:spPr>
          <a:xfrm>
            <a:off x="1059393" y="2971610"/>
            <a:ext cx="2622834" cy="7800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sz="4704" dirty="0">
                <a:solidFill>
                  <a:schemeClr val="tx1"/>
                </a:solidFill>
                <a:latin typeface="Century Gothic" panose="020B0502020202020204" pitchFamily="34" charset="0"/>
              </a:rPr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1D14662-5EA6-6946-B18A-007366D18E8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27815" y="858262"/>
            <a:ext cx="5504683" cy="5043256"/>
          </a:xfrm>
        </p:spPr>
        <p:txBody>
          <a:bodyPr>
            <a:normAutofit/>
          </a:bodyPr>
          <a:lstStyle>
            <a:lvl1pPr>
              <a:defRPr sz="2352">
                <a:solidFill>
                  <a:schemeClr val="tx1"/>
                </a:solidFill>
              </a:defRPr>
            </a:lvl1pPr>
            <a:lvl2pPr>
              <a:defRPr sz="2352">
                <a:solidFill>
                  <a:schemeClr val="tx1"/>
                </a:solidFill>
              </a:defRPr>
            </a:lvl2pPr>
            <a:lvl3pPr>
              <a:defRPr sz="2352">
                <a:solidFill>
                  <a:schemeClr val="tx1"/>
                </a:solidFill>
              </a:defRPr>
            </a:lvl3pPr>
            <a:lvl4pPr>
              <a:defRPr sz="2352">
                <a:solidFill>
                  <a:schemeClr val="tx1"/>
                </a:solidFill>
              </a:defRPr>
            </a:lvl4pPr>
            <a:lvl5pPr>
              <a:defRPr sz="2352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edit first level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2EC0266-18DE-5343-A8F4-EEB404D872E8}"/>
              </a:ext>
            </a:extLst>
          </p:cNvPr>
          <p:cNvCxnSpPr/>
          <p:nvPr userDrawn="1"/>
        </p:nvCxnSpPr>
        <p:spPr>
          <a:xfrm>
            <a:off x="3998596" y="478359"/>
            <a:ext cx="0" cy="5776347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E749A458-8E0A-E44B-82F6-EDA02E27A25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alphaModFix amt="25000"/>
          </a:blip>
          <a:srcRect r="27807"/>
          <a:stretch>
            <a:fillRect/>
          </a:stretch>
        </p:blipFill>
        <p:spPr>
          <a:xfrm flipH="1">
            <a:off x="7391399" y="2857817"/>
            <a:ext cx="4446305" cy="4245379"/>
          </a:xfrm>
          <a:custGeom>
            <a:avLst/>
            <a:gdLst>
              <a:gd name="connsiteX0" fmla="*/ 0 w 5994518"/>
              <a:gd name="connsiteY0" fmla="*/ 0 h 6242845"/>
              <a:gd name="connsiteX1" fmla="*/ 26078 w 5994518"/>
              <a:gd name="connsiteY1" fmla="*/ 0 h 6242845"/>
              <a:gd name="connsiteX2" fmla="*/ 5994518 w 5994518"/>
              <a:gd name="connsiteY2" fmla="*/ 6242845 h 6242845"/>
              <a:gd name="connsiteX3" fmla="*/ 0 w 5994518"/>
              <a:gd name="connsiteY3" fmla="*/ 6242845 h 6242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94518" h="6242845">
                <a:moveTo>
                  <a:pt x="0" y="0"/>
                </a:moveTo>
                <a:lnTo>
                  <a:pt x="26078" y="0"/>
                </a:lnTo>
                <a:lnTo>
                  <a:pt x="5994518" y="6242845"/>
                </a:lnTo>
                <a:lnTo>
                  <a:pt x="0" y="62428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8476211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PRP Content P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5812172"/>
              </p:ext>
            </p:ext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20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/>
          <p:cNvSpPr txBox="1"/>
          <p:nvPr userDrawn="1"/>
        </p:nvSpPr>
        <p:spPr>
          <a:xfrm>
            <a:off x="617449" y="889138"/>
            <a:ext cx="3380094" cy="119617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599808" tIns="458677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endParaRPr lang="en-US" sz="5293" dirty="0">
              <a:solidFill>
                <a:srgbClr val="333A5E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1D14662-5EA6-6946-B18A-007366D18E8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26760" y="889138"/>
            <a:ext cx="5036365" cy="5012380"/>
          </a:xfrm>
        </p:spPr>
        <p:txBody>
          <a:bodyPr>
            <a:normAutofit/>
          </a:bodyPr>
          <a:lstStyle>
            <a:lvl1pPr>
              <a:defRPr sz="2352">
                <a:solidFill>
                  <a:srgbClr val="176739"/>
                </a:solidFill>
              </a:defRPr>
            </a:lvl1pPr>
            <a:lvl2pPr>
              <a:defRPr sz="2352">
                <a:solidFill>
                  <a:srgbClr val="176739"/>
                </a:solidFill>
              </a:defRPr>
            </a:lvl2pPr>
            <a:lvl3pPr>
              <a:defRPr sz="2352">
                <a:solidFill>
                  <a:srgbClr val="176739"/>
                </a:solidFill>
              </a:defRPr>
            </a:lvl3pPr>
            <a:lvl4pPr>
              <a:defRPr sz="2352">
                <a:solidFill>
                  <a:srgbClr val="176739"/>
                </a:solidFill>
              </a:defRPr>
            </a:lvl4pPr>
            <a:lvl5pPr>
              <a:defRPr sz="2352">
                <a:solidFill>
                  <a:srgbClr val="176739"/>
                </a:solidFill>
              </a:defRPr>
            </a:lvl5pPr>
          </a:lstStyle>
          <a:p>
            <a:pPr lvl="0"/>
            <a:r>
              <a:rPr lang="en-GB" dirty="0"/>
              <a:t>Click to edit first level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6" name="TextBox 1">
            <a:extLst>
              <a:ext uri="{FF2B5EF4-FFF2-40B4-BE49-F238E27FC236}">
                <a16:creationId xmlns:a16="http://schemas.microsoft.com/office/drawing/2014/main" id="{31A8A388-A6D7-A649-92B5-BCAA6FD26AF6}"/>
              </a:ext>
            </a:extLst>
          </p:cNvPr>
          <p:cNvSpPr txBox="1"/>
          <p:nvPr userDrawn="1"/>
        </p:nvSpPr>
        <p:spPr>
          <a:xfrm>
            <a:off x="642139" y="2627729"/>
            <a:ext cx="3215213" cy="7800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sz="4704" dirty="0">
                <a:solidFill>
                  <a:srgbClr val="176739"/>
                </a:solidFill>
                <a:latin typeface="Century Gothic" panose="020B0502020202020204" pitchFamily="34" charset="0"/>
              </a:rPr>
              <a:t>Agenda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52376E7-1A8F-C84C-BAEE-02F6895BABC5}"/>
              </a:ext>
            </a:extLst>
          </p:cNvPr>
          <p:cNvCxnSpPr/>
          <p:nvPr userDrawn="1"/>
        </p:nvCxnSpPr>
        <p:spPr>
          <a:xfrm>
            <a:off x="3998596" y="478359"/>
            <a:ext cx="0" cy="5776347"/>
          </a:xfrm>
          <a:prstGeom prst="line">
            <a:avLst/>
          </a:prstGeom>
          <a:ln w="38100">
            <a:solidFill>
              <a:srgbClr val="1767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621A049F-C806-2C42-A93F-FAFCB989519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 r="27807"/>
          <a:stretch>
            <a:fillRect/>
          </a:stretch>
        </p:blipFill>
        <p:spPr>
          <a:xfrm flipH="1">
            <a:off x="7391399" y="2857817"/>
            <a:ext cx="4446305" cy="4245379"/>
          </a:xfrm>
          <a:custGeom>
            <a:avLst/>
            <a:gdLst>
              <a:gd name="connsiteX0" fmla="*/ 0 w 5994518"/>
              <a:gd name="connsiteY0" fmla="*/ 0 h 6242845"/>
              <a:gd name="connsiteX1" fmla="*/ 26078 w 5994518"/>
              <a:gd name="connsiteY1" fmla="*/ 0 h 6242845"/>
              <a:gd name="connsiteX2" fmla="*/ 5994518 w 5994518"/>
              <a:gd name="connsiteY2" fmla="*/ 6242845 h 6242845"/>
              <a:gd name="connsiteX3" fmla="*/ 0 w 5994518"/>
              <a:gd name="connsiteY3" fmla="*/ 6242845 h 6242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94518" h="6242845">
                <a:moveTo>
                  <a:pt x="0" y="0"/>
                </a:moveTo>
                <a:lnTo>
                  <a:pt x="26078" y="0"/>
                </a:lnTo>
                <a:lnTo>
                  <a:pt x="5994518" y="6242845"/>
                </a:lnTo>
                <a:lnTo>
                  <a:pt x="0" y="6242845"/>
                </a:lnTo>
                <a:close/>
              </a:path>
            </a:pathLst>
          </a:custGeom>
        </p:spPr>
      </p:pic>
      <p:sp>
        <p:nvSpPr>
          <p:cNvPr id="14" name="Slide Number Placeholder 3">
            <a:extLst>
              <a:ext uri="{FF2B5EF4-FFF2-40B4-BE49-F238E27FC236}">
                <a16:creationId xmlns:a16="http://schemas.microsoft.com/office/drawing/2014/main" id="{8EEFF680-5D1C-774D-84D2-F1073DD94B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09038" y="6126163"/>
            <a:ext cx="2689225" cy="3317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>
                    <a:lumMod val="50000"/>
                    <a:lumOff val="50000"/>
                  </a:schemeClr>
                </a:solidFill>
              </a:defRPr>
            </a:lvl1pPr>
          </a:lstStyle>
          <a:p>
            <a:fld id="{3D314921-4E57-464F-A582-181EFAE3A0A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19410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PRP Disclaim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2440183"/>
              </p:ext>
            </p:ext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0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/>
          <p:cNvSpPr txBox="1"/>
          <p:nvPr userDrawn="1"/>
        </p:nvSpPr>
        <p:spPr>
          <a:xfrm>
            <a:off x="617449" y="889138"/>
            <a:ext cx="3380094" cy="119617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599808" tIns="458677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endParaRPr lang="en-US" sz="5293" dirty="0">
              <a:solidFill>
                <a:srgbClr val="333A5E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1D14662-5EA6-6946-B18A-007366D18E8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26760" y="889138"/>
            <a:ext cx="5036365" cy="5012380"/>
          </a:xfrm>
        </p:spPr>
        <p:txBody>
          <a:bodyPr>
            <a:normAutofit/>
          </a:bodyPr>
          <a:lstStyle>
            <a:lvl1pPr>
              <a:defRPr sz="2352">
                <a:solidFill>
                  <a:schemeClr val="bg1"/>
                </a:solidFill>
              </a:defRPr>
            </a:lvl1pPr>
            <a:lvl2pPr>
              <a:defRPr sz="2352">
                <a:solidFill>
                  <a:schemeClr val="bg1"/>
                </a:solidFill>
              </a:defRPr>
            </a:lvl2pPr>
            <a:lvl3pPr>
              <a:defRPr sz="2352">
                <a:solidFill>
                  <a:schemeClr val="bg1"/>
                </a:solidFill>
              </a:defRPr>
            </a:lvl3pPr>
            <a:lvl4pPr>
              <a:defRPr sz="2352">
                <a:solidFill>
                  <a:schemeClr val="bg1"/>
                </a:solidFill>
              </a:defRPr>
            </a:lvl4pPr>
            <a:lvl5pPr>
              <a:defRPr sz="2352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first level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6" name="TextBox 1">
            <a:extLst>
              <a:ext uri="{FF2B5EF4-FFF2-40B4-BE49-F238E27FC236}">
                <a16:creationId xmlns:a16="http://schemas.microsoft.com/office/drawing/2014/main" id="{31A8A388-A6D7-A649-92B5-BCAA6FD26AF6}"/>
              </a:ext>
            </a:extLst>
          </p:cNvPr>
          <p:cNvSpPr txBox="1"/>
          <p:nvPr userDrawn="1"/>
        </p:nvSpPr>
        <p:spPr>
          <a:xfrm>
            <a:off x="786083" y="2971610"/>
            <a:ext cx="3169457" cy="7800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sz="4704" dirty="0">
                <a:solidFill>
                  <a:srgbClr val="176739"/>
                </a:solidFill>
                <a:latin typeface="Century Gothic" panose="020B0502020202020204" pitchFamily="34" charset="0"/>
              </a:rPr>
              <a:t>Disclaimer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52376E7-1A8F-C84C-BAEE-02F6895BABC5}"/>
              </a:ext>
            </a:extLst>
          </p:cNvPr>
          <p:cNvCxnSpPr/>
          <p:nvPr userDrawn="1"/>
        </p:nvCxnSpPr>
        <p:spPr>
          <a:xfrm>
            <a:off x="3998596" y="478359"/>
            <a:ext cx="0" cy="5776347"/>
          </a:xfrm>
          <a:prstGeom prst="line">
            <a:avLst/>
          </a:prstGeom>
          <a:ln w="38100">
            <a:solidFill>
              <a:srgbClr val="1767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C11729EB-6E38-5F44-9CFF-240862DEE58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 r="27807"/>
          <a:stretch>
            <a:fillRect/>
          </a:stretch>
        </p:blipFill>
        <p:spPr>
          <a:xfrm flipH="1">
            <a:off x="7439972" y="2857817"/>
            <a:ext cx="4446305" cy="4245379"/>
          </a:xfrm>
          <a:custGeom>
            <a:avLst/>
            <a:gdLst>
              <a:gd name="connsiteX0" fmla="*/ 0 w 5994518"/>
              <a:gd name="connsiteY0" fmla="*/ 0 h 6242845"/>
              <a:gd name="connsiteX1" fmla="*/ 26078 w 5994518"/>
              <a:gd name="connsiteY1" fmla="*/ 0 h 6242845"/>
              <a:gd name="connsiteX2" fmla="*/ 5994518 w 5994518"/>
              <a:gd name="connsiteY2" fmla="*/ 6242845 h 6242845"/>
              <a:gd name="connsiteX3" fmla="*/ 0 w 5994518"/>
              <a:gd name="connsiteY3" fmla="*/ 6242845 h 6242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94518" h="6242845">
                <a:moveTo>
                  <a:pt x="0" y="0"/>
                </a:moveTo>
                <a:lnTo>
                  <a:pt x="26078" y="0"/>
                </a:lnTo>
                <a:lnTo>
                  <a:pt x="5994518" y="6242845"/>
                </a:lnTo>
                <a:lnTo>
                  <a:pt x="0" y="6242845"/>
                </a:lnTo>
                <a:close/>
              </a:path>
            </a:pathLst>
          </a:custGeom>
        </p:spPr>
      </p:pic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id="{2C379090-58A4-AF4D-97F3-5FA8EA9102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09038" y="6126163"/>
            <a:ext cx="2689225" cy="3317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>
                    <a:lumMod val="50000"/>
                    <a:lumOff val="50000"/>
                  </a:schemeClr>
                </a:solidFill>
              </a:defRPr>
            </a:lvl1pPr>
          </a:lstStyle>
          <a:p>
            <a:fld id="{3D314921-4E57-464F-A582-181EFAE3A0A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12224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PRP Disclaim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7727129"/>
              </p:ext>
            </p:ext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39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/>
          <p:cNvSpPr txBox="1"/>
          <p:nvPr userDrawn="1"/>
        </p:nvSpPr>
        <p:spPr>
          <a:xfrm>
            <a:off x="617449" y="889138"/>
            <a:ext cx="3380094" cy="119617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599808" tIns="458677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endParaRPr lang="en-US" sz="5293" dirty="0">
              <a:solidFill>
                <a:srgbClr val="333A5E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1D14662-5EA6-6946-B18A-007366D18E8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26760" y="889138"/>
            <a:ext cx="5036365" cy="5012380"/>
          </a:xfrm>
        </p:spPr>
        <p:txBody>
          <a:bodyPr>
            <a:normAutofit/>
          </a:bodyPr>
          <a:lstStyle>
            <a:lvl1pPr>
              <a:defRPr sz="2352">
                <a:solidFill>
                  <a:schemeClr val="bg1"/>
                </a:solidFill>
              </a:defRPr>
            </a:lvl1pPr>
            <a:lvl2pPr>
              <a:defRPr sz="2352">
                <a:solidFill>
                  <a:schemeClr val="bg1"/>
                </a:solidFill>
              </a:defRPr>
            </a:lvl2pPr>
            <a:lvl3pPr>
              <a:defRPr sz="2352">
                <a:solidFill>
                  <a:schemeClr val="bg1"/>
                </a:solidFill>
              </a:defRPr>
            </a:lvl3pPr>
            <a:lvl4pPr>
              <a:defRPr sz="2352">
                <a:solidFill>
                  <a:schemeClr val="bg1"/>
                </a:solidFill>
              </a:defRPr>
            </a:lvl4pPr>
            <a:lvl5pPr>
              <a:defRPr sz="2352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first level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52376E7-1A8F-C84C-BAEE-02F6895BABC5}"/>
              </a:ext>
            </a:extLst>
          </p:cNvPr>
          <p:cNvCxnSpPr/>
          <p:nvPr userDrawn="1"/>
        </p:nvCxnSpPr>
        <p:spPr>
          <a:xfrm>
            <a:off x="3998596" y="478359"/>
            <a:ext cx="0" cy="5776347"/>
          </a:xfrm>
          <a:prstGeom prst="line">
            <a:avLst/>
          </a:prstGeom>
          <a:ln w="38100">
            <a:solidFill>
              <a:srgbClr val="1767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C11729EB-6E38-5F44-9CFF-240862DEE58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 r="27807"/>
          <a:stretch>
            <a:fillRect/>
          </a:stretch>
        </p:blipFill>
        <p:spPr>
          <a:xfrm flipH="1">
            <a:off x="7439972" y="2857817"/>
            <a:ext cx="4446305" cy="4245379"/>
          </a:xfrm>
          <a:custGeom>
            <a:avLst/>
            <a:gdLst>
              <a:gd name="connsiteX0" fmla="*/ 0 w 5994518"/>
              <a:gd name="connsiteY0" fmla="*/ 0 h 6242845"/>
              <a:gd name="connsiteX1" fmla="*/ 26078 w 5994518"/>
              <a:gd name="connsiteY1" fmla="*/ 0 h 6242845"/>
              <a:gd name="connsiteX2" fmla="*/ 5994518 w 5994518"/>
              <a:gd name="connsiteY2" fmla="*/ 6242845 h 6242845"/>
              <a:gd name="connsiteX3" fmla="*/ 0 w 5994518"/>
              <a:gd name="connsiteY3" fmla="*/ 6242845 h 6242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94518" h="6242845">
                <a:moveTo>
                  <a:pt x="0" y="0"/>
                </a:moveTo>
                <a:lnTo>
                  <a:pt x="26078" y="0"/>
                </a:lnTo>
                <a:lnTo>
                  <a:pt x="5994518" y="6242845"/>
                </a:lnTo>
                <a:lnTo>
                  <a:pt x="0" y="6242845"/>
                </a:lnTo>
                <a:close/>
              </a:path>
            </a:pathLst>
          </a:custGeom>
        </p:spPr>
      </p:pic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id="{2C379090-58A4-AF4D-97F3-5FA8EA9102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09038" y="6126163"/>
            <a:ext cx="2689225" cy="3317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>
                    <a:lumMod val="50000"/>
                    <a:lumOff val="50000"/>
                  </a:schemeClr>
                </a:solidFill>
              </a:defRPr>
            </a:lvl1pPr>
          </a:lstStyle>
          <a:p>
            <a:fld id="{3D314921-4E57-464F-A582-181EFAE3A0A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83992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PRP Section Break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C9BE1D4-71B8-B94D-9896-943B6EE20D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4177482"/>
              </p:ext>
            </p:ext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5825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C9BE1D4-71B8-B94D-9896-943B6EE20D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B4807D38-0625-A645-871A-5B4507B1848E}"/>
              </a:ext>
            </a:extLst>
          </p:cNvPr>
          <p:cNvSpPr/>
          <p:nvPr userDrawn="1"/>
        </p:nvSpPr>
        <p:spPr>
          <a:xfrm>
            <a:off x="611459" y="487565"/>
            <a:ext cx="1552762" cy="1390403"/>
          </a:xfrm>
          <a:prstGeom prst="rect">
            <a:avLst/>
          </a:prstGeom>
          <a:noFill/>
          <a:ln w="38100">
            <a:solidFill>
              <a:srgbClr val="1767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68" dirty="0"/>
          </a:p>
        </p:txBody>
      </p:sp>
      <p:sp>
        <p:nvSpPr>
          <p:cNvPr id="21" name="Title 20">
            <a:extLst>
              <a:ext uri="{FF2B5EF4-FFF2-40B4-BE49-F238E27FC236}">
                <a16:creationId xmlns:a16="http://schemas.microsoft.com/office/drawing/2014/main" id="{3D0F2904-05C1-2440-93AD-528DF4830A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1459" y="4560516"/>
            <a:ext cx="10676044" cy="1694190"/>
          </a:xfrm>
          <a:ln w="19050">
            <a:noFill/>
          </a:ln>
        </p:spPr>
        <p:txBody>
          <a:bodyPr anchor="b">
            <a:normAutofit/>
          </a:bodyPr>
          <a:lstStyle>
            <a:lvl1pPr algn="l">
              <a:defRPr sz="5881">
                <a:solidFill>
                  <a:srgbClr val="176739"/>
                </a:solidFill>
              </a:defRPr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CACBB2D-7C52-2B42-BB14-312A1A0735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9747" y="626819"/>
            <a:ext cx="1196183" cy="1111893"/>
          </a:xfrm>
        </p:spPr>
        <p:txBody>
          <a:bodyPr anchor="ctr"/>
          <a:lstStyle>
            <a:lvl1pPr marL="0" indent="0" algn="ctr">
              <a:buNone/>
              <a:defRPr>
                <a:solidFill>
                  <a:srgbClr val="176739"/>
                </a:solidFill>
              </a:defRPr>
            </a:lvl1pPr>
          </a:lstStyle>
          <a:p>
            <a:pPr lvl="0"/>
            <a:r>
              <a:rPr lang="en-US" dirty="0"/>
              <a:t>Click to add text or icon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17FAB43-0CF9-DB45-89E5-392B92945C4A}"/>
              </a:ext>
            </a:extLst>
          </p:cNvPr>
          <p:cNvCxnSpPr>
            <a:cxnSpLocks/>
          </p:cNvCxnSpPr>
          <p:nvPr userDrawn="1"/>
        </p:nvCxnSpPr>
        <p:spPr>
          <a:xfrm>
            <a:off x="611459" y="4560504"/>
            <a:ext cx="10726196" cy="0"/>
          </a:xfrm>
          <a:prstGeom prst="line">
            <a:avLst/>
          </a:prstGeom>
          <a:ln w="38100">
            <a:solidFill>
              <a:srgbClr val="1767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34EAA13D-A377-ED4D-A415-00ADAD4B894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 r="27807"/>
          <a:stretch>
            <a:fillRect/>
          </a:stretch>
        </p:blipFill>
        <p:spPr>
          <a:xfrm flipH="1" flipV="1">
            <a:off x="7391399" y="0"/>
            <a:ext cx="4446305" cy="4245379"/>
          </a:xfrm>
          <a:custGeom>
            <a:avLst/>
            <a:gdLst>
              <a:gd name="connsiteX0" fmla="*/ 0 w 5994518"/>
              <a:gd name="connsiteY0" fmla="*/ 0 h 6242845"/>
              <a:gd name="connsiteX1" fmla="*/ 26078 w 5994518"/>
              <a:gd name="connsiteY1" fmla="*/ 0 h 6242845"/>
              <a:gd name="connsiteX2" fmla="*/ 5994518 w 5994518"/>
              <a:gd name="connsiteY2" fmla="*/ 6242845 h 6242845"/>
              <a:gd name="connsiteX3" fmla="*/ 0 w 5994518"/>
              <a:gd name="connsiteY3" fmla="*/ 6242845 h 6242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94518" h="6242845">
                <a:moveTo>
                  <a:pt x="0" y="0"/>
                </a:moveTo>
                <a:lnTo>
                  <a:pt x="26078" y="0"/>
                </a:lnTo>
                <a:lnTo>
                  <a:pt x="5994518" y="6242845"/>
                </a:lnTo>
                <a:lnTo>
                  <a:pt x="0" y="6242845"/>
                </a:lnTo>
                <a:close/>
              </a:path>
            </a:pathLst>
          </a:custGeom>
        </p:spPr>
      </p:pic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AF715981-B86A-3046-A877-9C0E42A28D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09038" y="6126163"/>
            <a:ext cx="2689225" cy="3317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314921-4E57-464F-A582-181EFAE3A0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49440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PRP Section Break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C9BE1D4-71B8-B94D-9896-943B6EE20D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6312267"/>
              </p:ext>
            </p:extLst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6849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C9BE1D4-71B8-B94D-9896-943B6EE20D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05510406-25B7-8844-A49D-A946CB55D4EC}"/>
              </a:ext>
            </a:extLst>
          </p:cNvPr>
          <p:cNvSpPr/>
          <p:nvPr userDrawn="1"/>
        </p:nvSpPr>
        <p:spPr>
          <a:xfrm>
            <a:off x="-33901" y="1"/>
            <a:ext cx="11983014" cy="6721474"/>
          </a:xfrm>
          <a:prstGeom prst="rect">
            <a:avLst/>
          </a:prstGeom>
          <a:solidFill>
            <a:srgbClr val="176739"/>
          </a:solidFill>
          <a:ln>
            <a:solidFill>
              <a:srgbClr val="1767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68" dirty="0"/>
          </a:p>
        </p:txBody>
      </p:sp>
      <p:sp>
        <p:nvSpPr>
          <p:cNvPr id="21" name="Title 20">
            <a:extLst>
              <a:ext uri="{FF2B5EF4-FFF2-40B4-BE49-F238E27FC236}">
                <a16:creationId xmlns:a16="http://schemas.microsoft.com/office/drawing/2014/main" id="{3D0F2904-05C1-2440-93AD-528DF4830A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4823" y="4489929"/>
            <a:ext cx="10752832" cy="1743981"/>
          </a:xfrm>
          <a:ln w="19050">
            <a:noFill/>
          </a:ln>
        </p:spPr>
        <p:txBody>
          <a:bodyPr anchor="b">
            <a:normAutofit/>
          </a:bodyPr>
          <a:lstStyle>
            <a:lvl1pPr algn="l">
              <a:defRPr sz="588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CACBB2D-7C52-2B42-BB14-312A1A0735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91870" y="602540"/>
            <a:ext cx="1170017" cy="1087572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 or ico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69B57D3-E571-3942-B9AE-EFC26E50B87F}"/>
              </a:ext>
            </a:extLst>
          </p:cNvPr>
          <p:cNvSpPr/>
          <p:nvPr userDrawn="1"/>
        </p:nvSpPr>
        <p:spPr>
          <a:xfrm>
            <a:off x="611459" y="451126"/>
            <a:ext cx="1552762" cy="1390403"/>
          </a:xfrm>
          <a:prstGeom prst="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68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BB94451-2706-7F4D-A55F-8FA2AF743340}"/>
              </a:ext>
            </a:extLst>
          </p:cNvPr>
          <p:cNvCxnSpPr>
            <a:cxnSpLocks/>
          </p:cNvCxnSpPr>
          <p:nvPr userDrawn="1"/>
        </p:nvCxnSpPr>
        <p:spPr>
          <a:xfrm>
            <a:off x="611459" y="4489929"/>
            <a:ext cx="10726196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>
            <a:extLst>
              <a:ext uri="{FF2B5EF4-FFF2-40B4-BE49-F238E27FC236}">
                <a16:creationId xmlns:a16="http://schemas.microsoft.com/office/drawing/2014/main" id="{6CAA881E-51E5-2F4E-A516-CEB662DB422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alphaModFix amt="30000"/>
          </a:blip>
          <a:srcRect r="27807"/>
          <a:stretch>
            <a:fillRect/>
          </a:stretch>
        </p:blipFill>
        <p:spPr>
          <a:xfrm flipH="1" flipV="1">
            <a:off x="7391399" y="0"/>
            <a:ext cx="4446305" cy="4245379"/>
          </a:xfrm>
          <a:custGeom>
            <a:avLst/>
            <a:gdLst>
              <a:gd name="connsiteX0" fmla="*/ 0 w 5994518"/>
              <a:gd name="connsiteY0" fmla="*/ 0 h 6242845"/>
              <a:gd name="connsiteX1" fmla="*/ 26078 w 5994518"/>
              <a:gd name="connsiteY1" fmla="*/ 0 h 6242845"/>
              <a:gd name="connsiteX2" fmla="*/ 5994518 w 5994518"/>
              <a:gd name="connsiteY2" fmla="*/ 6242845 h 6242845"/>
              <a:gd name="connsiteX3" fmla="*/ 0 w 5994518"/>
              <a:gd name="connsiteY3" fmla="*/ 6242845 h 6242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94518" h="6242845">
                <a:moveTo>
                  <a:pt x="0" y="0"/>
                </a:moveTo>
                <a:lnTo>
                  <a:pt x="26078" y="0"/>
                </a:lnTo>
                <a:lnTo>
                  <a:pt x="5994518" y="6242845"/>
                </a:lnTo>
                <a:lnTo>
                  <a:pt x="0" y="6242845"/>
                </a:lnTo>
                <a:close/>
              </a:path>
            </a:pathLst>
          </a:custGeom>
        </p:spPr>
      </p:pic>
      <p:sp>
        <p:nvSpPr>
          <p:cNvPr id="19" name="Slide Number Placeholder 3">
            <a:extLst>
              <a:ext uri="{FF2B5EF4-FFF2-40B4-BE49-F238E27FC236}">
                <a16:creationId xmlns:a16="http://schemas.microsoft.com/office/drawing/2014/main" id="{2AC5F010-EC35-4945-9A16-914FE7035B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09038" y="6126163"/>
            <a:ext cx="2689225" cy="3317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314921-4E57-464F-A582-181EFAE3A0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7678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8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3.xml"/><Relationship Id="rId42" Type="http://schemas.openxmlformats.org/officeDocument/2006/relationships/tags" Target="../tags/tag11.xml"/><Relationship Id="rId47" Type="http://schemas.openxmlformats.org/officeDocument/2006/relationships/tags" Target="../tags/tag16.xml"/><Relationship Id="rId50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vmlDrawing" Target="../drawings/vmlDrawing1.vml"/><Relationship Id="rId37" Type="http://schemas.openxmlformats.org/officeDocument/2006/relationships/tags" Target="../tags/tag6.xml"/><Relationship Id="rId40" Type="http://schemas.openxmlformats.org/officeDocument/2006/relationships/tags" Target="../tags/tag9.xml"/><Relationship Id="rId45" Type="http://schemas.openxmlformats.org/officeDocument/2006/relationships/tags" Target="../tags/tag1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5.xml"/><Relationship Id="rId49" Type="http://schemas.openxmlformats.org/officeDocument/2006/relationships/tags" Target="../tags/tag1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4" Type="http://schemas.openxmlformats.org/officeDocument/2006/relationships/tags" Target="../tags/tag1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4.xml"/><Relationship Id="rId43" Type="http://schemas.openxmlformats.org/officeDocument/2006/relationships/tags" Target="../tags/tag12.xml"/><Relationship Id="rId48" Type="http://schemas.openxmlformats.org/officeDocument/2006/relationships/tags" Target="../tags/tag17.xml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2.xml"/><Relationship Id="rId38" Type="http://schemas.openxmlformats.org/officeDocument/2006/relationships/tags" Target="../tags/tag7.xml"/><Relationship Id="rId46" Type="http://schemas.openxmlformats.org/officeDocument/2006/relationships/tags" Target="../tags/tag15.xml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1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3458528964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6739" name="think-cell Slide" r:id="rId50" imgW="270" imgH="270" progId="TCLayout.ActiveDocument.1">
                  <p:embed/>
                </p:oleObj>
              </mc:Choice>
              <mc:Fallback>
                <p:oleObj name="think-cell Slide" r:id="rId5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4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724255" y="1940592"/>
            <a:ext cx="226344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2020/03/08 22:31 W. Central Africa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445770" y="230189"/>
            <a:ext cx="1104138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5" name="SlideBottomBar" hidden="1"/>
          <p:cNvSpPr/>
          <p:nvPr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4" name="doc id" hidden="1"/>
          <p:cNvSpPr>
            <a:spLocks noChangeArrowheads="1"/>
          </p:cNvSpPr>
          <p:nvPr/>
        </p:nvSpPr>
        <p:spPr bwMode="gray">
          <a:xfrm>
            <a:off x="10457645" y="50801"/>
            <a:ext cx="116641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5" name="LegendBoxes" hidden="1"/>
          <p:cNvGrpSpPr/>
          <p:nvPr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4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4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3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4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4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3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4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4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3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3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2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34975" y="1073547"/>
            <a:ext cx="11041380" cy="50351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7C4E6E5-6541-EC4A-9826-402A3FA6B2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09038" y="6126163"/>
            <a:ext cx="2689225" cy="3317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314921-4E57-464F-A582-181EFAE3A0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38114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1" r:id="rId2"/>
    <p:sldLayoutId id="2147483698" r:id="rId3"/>
    <p:sldLayoutId id="2147483672" r:id="rId4"/>
    <p:sldLayoutId id="2147483673" r:id="rId5"/>
    <p:sldLayoutId id="2147483674" r:id="rId6"/>
    <p:sldLayoutId id="2147483699" r:id="rId7"/>
    <p:sldLayoutId id="2147483694" r:id="rId8"/>
    <p:sldLayoutId id="2147483695" r:id="rId9"/>
    <p:sldLayoutId id="2147483662" r:id="rId10"/>
    <p:sldLayoutId id="2147483669" r:id="rId11"/>
    <p:sldLayoutId id="2147483675" r:id="rId12"/>
    <p:sldLayoutId id="2147483676" r:id="rId13"/>
    <p:sldLayoutId id="2147483677" r:id="rId14"/>
    <p:sldLayoutId id="2147483678" r:id="rId15"/>
    <p:sldLayoutId id="2147483679" r:id="rId16"/>
    <p:sldLayoutId id="2147483680" r:id="rId17"/>
    <p:sldLayoutId id="2147483681" r:id="rId18"/>
    <p:sldLayoutId id="2147483682" r:id="rId19"/>
    <p:sldLayoutId id="2147483683" r:id="rId20"/>
    <p:sldLayoutId id="2147483684" r:id="rId21"/>
    <p:sldLayoutId id="2147483685" r:id="rId22"/>
    <p:sldLayoutId id="2147483686" r:id="rId23"/>
    <p:sldLayoutId id="2147483687" r:id="rId24"/>
    <p:sldLayoutId id="2147483688" r:id="rId25"/>
    <p:sldLayoutId id="2147483689" r:id="rId26"/>
    <p:sldLayoutId id="2147483690" r:id="rId27"/>
    <p:sldLayoutId id="2147483691" r:id="rId28"/>
    <p:sldLayoutId id="2147483692" r:id="rId29"/>
    <p:sldLayoutId id="2147483696" r:id="rId30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400" b="0" baseline="0">
          <a:solidFill>
            <a:schemeClr val="tx2"/>
          </a:solidFill>
          <a:latin typeface="Century Gothic" panose="020B0502020202020204" pitchFamily="34" charset="0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2pPr>
      <a:lvl3pPr marL="481012" indent="-28575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17" userDrawn="1">
          <p15:clr>
            <a:srgbClr val="F26B43"/>
          </p15:clr>
        </p15:guide>
        <p15:guide id="2" pos="3763" userDrawn="1">
          <p15:clr>
            <a:srgbClr val="F26B43"/>
          </p15:clr>
        </p15:guide>
        <p15:guide id="3" pos="7243" userDrawn="1">
          <p15:clr>
            <a:srgbClr val="000000"/>
          </p15:clr>
        </p15:guide>
        <p15:guide id="4" pos="274" userDrawn="1">
          <p15:clr>
            <a:srgbClr val="000000"/>
          </p15:clr>
        </p15:guide>
        <p15:guide id="5" orient="horz" pos="3859" userDrawn="1">
          <p15:clr>
            <a:srgbClr val="A4A3A4"/>
          </p15:clr>
        </p15:guide>
        <p15:guide id="6" orient="horz" pos="670" userDrawn="1">
          <p15:clr>
            <a:srgbClr val="000000"/>
          </p15:clr>
        </p15:guide>
        <p15:guide id="7" orient="horz" pos="396" userDrawn="1">
          <p15:clr>
            <a:srgbClr val="A4A3A4"/>
          </p15:clr>
        </p15:guide>
        <p15:guide id="8" orient="horz" pos="151" userDrawn="1">
          <p15:clr>
            <a:srgbClr val="000000"/>
          </p15:clr>
        </p15:guide>
        <p15:guide id="9" orient="horz" pos="4075" userDrawn="1">
          <p15:clr>
            <a:srgbClr val="00000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hyperlink" Target="mailto:suleiman.babamanu@rea.gov.ng?subject=5m%20Solar%20Connection%20Facility:%20Downstream%20Application" TargetMode="External"/><Relationship Id="rId3" Type="http://schemas.openxmlformats.org/officeDocument/2006/relationships/slideLayout" Target="../slideLayouts/slideLayout30.xml"/><Relationship Id="rId7" Type="http://schemas.openxmlformats.org/officeDocument/2006/relationships/image" Target="../media/image3.png"/><Relationship Id="rId12" Type="http://schemas.openxmlformats.org/officeDocument/2006/relationships/image" Target="../media/image18.jpeg"/><Relationship Id="rId2" Type="http://schemas.openxmlformats.org/officeDocument/2006/relationships/tags" Target="../tags/tag53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3.emf"/><Relationship Id="rId11" Type="http://schemas.openxmlformats.org/officeDocument/2006/relationships/image" Target="../media/image17.jpeg"/><Relationship Id="rId5" Type="http://schemas.openxmlformats.org/officeDocument/2006/relationships/oleObject" Target="../embeddings/oleObject29.bin"/><Relationship Id="rId10" Type="http://schemas.openxmlformats.org/officeDocument/2006/relationships/image" Target="../media/image16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5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7" name="Object 126" hidden="1">
            <a:extLst>
              <a:ext uri="{FF2B5EF4-FFF2-40B4-BE49-F238E27FC236}">
                <a16:creationId xmlns:a16="http://schemas.microsoft.com/office/drawing/2014/main" id="{7C633A6A-9F0D-5C47-BF7D-38C5B540786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4144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27" name="Object 126" hidden="1">
                        <a:extLst>
                          <a:ext uri="{FF2B5EF4-FFF2-40B4-BE49-F238E27FC236}">
                            <a16:creationId xmlns:a16="http://schemas.microsoft.com/office/drawing/2014/main" id="{7C633A6A-9F0D-5C47-BF7D-38C5B54078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9" name="Rectangle 128">
            <a:extLst>
              <a:ext uri="{FF2B5EF4-FFF2-40B4-BE49-F238E27FC236}">
                <a16:creationId xmlns:a16="http://schemas.microsoft.com/office/drawing/2014/main" id="{BECC6659-211B-ED43-86D2-82C6B807A934}"/>
              </a:ext>
            </a:extLst>
          </p:cNvPr>
          <p:cNvSpPr/>
          <p:nvPr/>
        </p:nvSpPr>
        <p:spPr>
          <a:xfrm>
            <a:off x="3750168" y="1167305"/>
            <a:ext cx="3910322" cy="5137725"/>
          </a:xfrm>
          <a:prstGeom prst="rect">
            <a:avLst/>
          </a:prstGeom>
          <a:solidFill>
            <a:srgbClr val="176739">
              <a:alpha val="3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GB" dirty="0"/>
          </a:p>
        </p:txBody>
      </p:sp>
      <p:pic>
        <p:nvPicPr>
          <p:cNvPr id="140" name="Picture 139" descr="A circuit board&#10;&#10;Description automatically generated">
            <a:extLst>
              <a:ext uri="{FF2B5EF4-FFF2-40B4-BE49-F238E27FC236}">
                <a16:creationId xmlns:a16="http://schemas.microsoft.com/office/drawing/2014/main" id="{8CCE9413-6DFB-6A44-BC3B-721B849A7F51}"/>
              </a:ext>
            </a:extLst>
          </p:cNvPr>
          <p:cNvPicPr/>
          <p:nvPr/>
        </p:nvPicPr>
        <p:blipFill>
          <a:blip r:embed="rId7">
            <a:alphaModFix amt="3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7807"/>
          <a:stretch>
            <a:fillRect/>
          </a:stretch>
        </p:blipFill>
        <p:spPr>
          <a:xfrm rot="5400000" flipV="1">
            <a:off x="9300201" y="-375689"/>
            <a:ext cx="3230166" cy="3705909"/>
          </a:xfrm>
          <a:custGeom>
            <a:avLst/>
            <a:gdLst>
              <a:gd name="connsiteX0" fmla="*/ 0 w 5994518"/>
              <a:gd name="connsiteY0" fmla="*/ 0 h 6242845"/>
              <a:gd name="connsiteX1" fmla="*/ 26078 w 5994518"/>
              <a:gd name="connsiteY1" fmla="*/ 0 h 6242845"/>
              <a:gd name="connsiteX2" fmla="*/ 5994518 w 5994518"/>
              <a:gd name="connsiteY2" fmla="*/ 6242845 h 6242845"/>
              <a:gd name="connsiteX3" fmla="*/ 0 w 5994518"/>
              <a:gd name="connsiteY3" fmla="*/ 6242845 h 6242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94518" h="6242845">
                <a:moveTo>
                  <a:pt x="0" y="0"/>
                </a:moveTo>
                <a:lnTo>
                  <a:pt x="26078" y="0"/>
                </a:lnTo>
                <a:lnTo>
                  <a:pt x="5994518" y="6242845"/>
                </a:lnTo>
                <a:lnTo>
                  <a:pt x="0" y="6242845"/>
                </a:lnTo>
                <a:close/>
              </a:path>
            </a:pathLst>
          </a:custGeom>
          <a:noFill/>
        </p:spPr>
      </p:pic>
      <p:sp>
        <p:nvSpPr>
          <p:cNvPr id="130" name="Rectangle 129">
            <a:extLst>
              <a:ext uri="{FF2B5EF4-FFF2-40B4-BE49-F238E27FC236}">
                <a16:creationId xmlns:a16="http://schemas.microsoft.com/office/drawing/2014/main" id="{4348DD49-6447-2F45-8C9B-B0C416BDF6EA}"/>
              </a:ext>
            </a:extLst>
          </p:cNvPr>
          <p:cNvSpPr/>
          <p:nvPr/>
        </p:nvSpPr>
        <p:spPr>
          <a:xfrm>
            <a:off x="7775827" y="1151085"/>
            <a:ext cx="3910322" cy="5137724"/>
          </a:xfrm>
          <a:prstGeom prst="rect">
            <a:avLst/>
          </a:prstGeom>
          <a:solidFill>
            <a:srgbClr val="176739">
              <a:alpha val="3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7995D56E-0B65-A84B-96B7-716C25C4A54F}"/>
              </a:ext>
            </a:extLst>
          </p:cNvPr>
          <p:cNvSpPr/>
          <p:nvPr/>
        </p:nvSpPr>
        <p:spPr>
          <a:xfrm>
            <a:off x="224566" y="2890120"/>
            <a:ext cx="3436640" cy="338554"/>
          </a:xfrm>
          <a:prstGeom prst="rect">
            <a:avLst/>
          </a:prstGeom>
          <a:solidFill>
            <a:srgbClr val="17673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C6DB9747-9BD7-EF4A-8D06-8E670E48DD6C}"/>
              </a:ext>
            </a:extLst>
          </p:cNvPr>
          <p:cNvSpPr/>
          <p:nvPr/>
        </p:nvSpPr>
        <p:spPr>
          <a:xfrm>
            <a:off x="3749644" y="891494"/>
            <a:ext cx="7922358" cy="338554"/>
          </a:xfrm>
          <a:prstGeom prst="rect">
            <a:avLst/>
          </a:prstGeom>
          <a:solidFill>
            <a:srgbClr val="17673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1FE4253-4D54-A44D-B420-B077E559C5B9}"/>
              </a:ext>
            </a:extLst>
          </p:cNvPr>
          <p:cNvGrpSpPr/>
          <p:nvPr/>
        </p:nvGrpSpPr>
        <p:grpSpPr>
          <a:xfrm>
            <a:off x="3879284" y="1477953"/>
            <a:ext cx="243461" cy="196605"/>
            <a:chOff x="4302177" y="1355372"/>
            <a:chExt cx="456319" cy="368497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9F37F857-98C6-6D49-A288-B9281453BD7A}"/>
                </a:ext>
              </a:extLst>
            </p:cNvPr>
            <p:cNvSpPr/>
            <p:nvPr/>
          </p:nvSpPr>
          <p:spPr>
            <a:xfrm>
              <a:off x="4302177" y="1439056"/>
              <a:ext cx="329784" cy="284813"/>
            </a:xfrm>
            <a:prstGeom prst="rect">
              <a:avLst/>
            </a:prstGeom>
            <a:noFill/>
            <a:ln w="9525">
              <a:solidFill>
                <a:srgbClr val="176739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19FFA802-5E9C-6045-9C7B-661E43EEB36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 b="27222"/>
            <a:stretch/>
          </p:blipFill>
          <p:spPr>
            <a:xfrm>
              <a:off x="4340532" y="1355372"/>
              <a:ext cx="417964" cy="365937"/>
            </a:xfrm>
            <a:prstGeom prst="rect">
              <a:avLst/>
            </a:prstGeom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64F20D1-1A15-E74D-BFA9-D49DBC97827E}"/>
              </a:ext>
            </a:extLst>
          </p:cNvPr>
          <p:cNvGrpSpPr/>
          <p:nvPr/>
        </p:nvGrpSpPr>
        <p:grpSpPr>
          <a:xfrm>
            <a:off x="3879284" y="2142828"/>
            <a:ext cx="243461" cy="196605"/>
            <a:chOff x="4302177" y="1355372"/>
            <a:chExt cx="456319" cy="368497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6061B7F-C9FF-1B40-B748-3B75DB87FAE4}"/>
                </a:ext>
              </a:extLst>
            </p:cNvPr>
            <p:cNvSpPr/>
            <p:nvPr/>
          </p:nvSpPr>
          <p:spPr>
            <a:xfrm>
              <a:off x="4302177" y="1439056"/>
              <a:ext cx="329784" cy="284813"/>
            </a:xfrm>
            <a:prstGeom prst="rect">
              <a:avLst/>
            </a:prstGeom>
            <a:noFill/>
            <a:ln w="9525">
              <a:solidFill>
                <a:srgbClr val="176739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97005E65-E512-684D-BEEF-19ED65BEAA4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 b="27222"/>
            <a:stretch/>
          </p:blipFill>
          <p:spPr>
            <a:xfrm>
              <a:off x="4340532" y="1355372"/>
              <a:ext cx="417964" cy="365937"/>
            </a:xfrm>
            <a:prstGeom prst="rect">
              <a:avLst/>
            </a:prstGeom>
          </p:spPr>
        </p:pic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9E673A8A-A12D-2B43-9229-AE83EE464945}"/>
              </a:ext>
            </a:extLst>
          </p:cNvPr>
          <p:cNvGrpSpPr/>
          <p:nvPr/>
        </p:nvGrpSpPr>
        <p:grpSpPr>
          <a:xfrm>
            <a:off x="3879284" y="1822899"/>
            <a:ext cx="243461" cy="196605"/>
            <a:chOff x="4302177" y="1355372"/>
            <a:chExt cx="456319" cy="368497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683F202D-AC80-9B4F-84E4-7F9B94F0E4AB}"/>
                </a:ext>
              </a:extLst>
            </p:cNvPr>
            <p:cNvSpPr/>
            <p:nvPr/>
          </p:nvSpPr>
          <p:spPr>
            <a:xfrm>
              <a:off x="4302177" y="1439056"/>
              <a:ext cx="329784" cy="284813"/>
            </a:xfrm>
            <a:prstGeom prst="rect">
              <a:avLst/>
            </a:prstGeom>
            <a:noFill/>
            <a:ln w="9525">
              <a:solidFill>
                <a:srgbClr val="176739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20" name="Graphic 19">
              <a:extLst>
                <a:ext uri="{FF2B5EF4-FFF2-40B4-BE49-F238E27FC236}">
                  <a16:creationId xmlns:a16="http://schemas.microsoft.com/office/drawing/2014/main" id="{3EA64638-AA0D-5E4C-B13C-F1881B732B7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 b="27222"/>
            <a:stretch/>
          </p:blipFill>
          <p:spPr>
            <a:xfrm>
              <a:off x="4340532" y="1355372"/>
              <a:ext cx="417964" cy="365937"/>
            </a:xfrm>
            <a:prstGeom prst="rect">
              <a:avLst/>
            </a:prstGeom>
          </p:spPr>
        </p:pic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1D4A3223-7938-1543-A212-622A560CDCE2}"/>
              </a:ext>
            </a:extLst>
          </p:cNvPr>
          <p:cNvGrpSpPr/>
          <p:nvPr/>
        </p:nvGrpSpPr>
        <p:grpSpPr>
          <a:xfrm>
            <a:off x="3879284" y="2564518"/>
            <a:ext cx="243461" cy="196605"/>
            <a:chOff x="4302177" y="1355372"/>
            <a:chExt cx="456319" cy="368497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CF6A288A-C38D-8642-82B3-4B90B542B660}"/>
                </a:ext>
              </a:extLst>
            </p:cNvPr>
            <p:cNvSpPr/>
            <p:nvPr/>
          </p:nvSpPr>
          <p:spPr>
            <a:xfrm>
              <a:off x="4302177" y="1439056"/>
              <a:ext cx="329784" cy="284813"/>
            </a:xfrm>
            <a:prstGeom prst="rect">
              <a:avLst/>
            </a:prstGeom>
            <a:noFill/>
            <a:ln w="9525">
              <a:solidFill>
                <a:srgbClr val="176739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23" name="Graphic 22">
              <a:extLst>
                <a:ext uri="{FF2B5EF4-FFF2-40B4-BE49-F238E27FC236}">
                  <a16:creationId xmlns:a16="http://schemas.microsoft.com/office/drawing/2014/main" id="{B8F7A112-5AA1-8844-85C4-E4DD57A6FBA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 b="27222"/>
            <a:stretch/>
          </p:blipFill>
          <p:spPr>
            <a:xfrm>
              <a:off x="4340532" y="1355372"/>
              <a:ext cx="417964" cy="365937"/>
            </a:xfrm>
            <a:prstGeom prst="rect">
              <a:avLst/>
            </a:prstGeom>
          </p:spPr>
        </p:pic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D6974A27-E424-D243-BF8B-670820B2C844}"/>
              </a:ext>
            </a:extLst>
          </p:cNvPr>
          <p:cNvGrpSpPr/>
          <p:nvPr/>
        </p:nvGrpSpPr>
        <p:grpSpPr>
          <a:xfrm>
            <a:off x="3879284" y="2969075"/>
            <a:ext cx="243461" cy="196605"/>
            <a:chOff x="4302177" y="1355372"/>
            <a:chExt cx="456319" cy="368497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C925ADA5-E950-854F-9009-C3A88AD2076D}"/>
                </a:ext>
              </a:extLst>
            </p:cNvPr>
            <p:cNvSpPr/>
            <p:nvPr/>
          </p:nvSpPr>
          <p:spPr>
            <a:xfrm>
              <a:off x="4302177" y="1439056"/>
              <a:ext cx="329784" cy="284813"/>
            </a:xfrm>
            <a:prstGeom prst="rect">
              <a:avLst/>
            </a:prstGeom>
            <a:noFill/>
            <a:ln w="9525">
              <a:solidFill>
                <a:srgbClr val="176739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26" name="Graphic 25">
              <a:extLst>
                <a:ext uri="{FF2B5EF4-FFF2-40B4-BE49-F238E27FC236}">
                  <a16:creationId xmlns:a16="http://schemas.microsoft.com/office/drawing/2014/main" id="{8806FC4E-DD4A-A046-BDFE-33982D6FCFE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 b="27222"/>
            <a:stretch/>
          </p:blipFill>
          <p:spPr>
            <a:xfrm>
              <a:off x="4340532" y="1355372"/>
              <a:ext cx="417964" cy="365937"/>
            </a:xfrm>
            <a:prstGeom prst="rect">
              <a:avLst/>
            </a:prstGeom>
          </p:spPr>
        </p:pic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65ED7D6C-41EC-FD4F-9338-FC8F202A99DC}"/>
              </a:ext>
            </a:extLst>
          </p:cNvPr>
          <p:cNvGrpSpPr/>
          <p:nvPr/>
        </p:nvGrpSpPr>
        <p:grpSpPr>
          <a:xfrm>
            <a:off x="3879284" y="3380913"/>
            <a:ext cx="243461" cy="196605"/>
            <a:chOff x="4302177" y="1355372"/>
            <a:chExt cx="456319" cy="368497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EDF68830-4518-FA41-9B91-11F5025F77C8}"/>
                </a:ext>
              </a:extLst>
            </p:cNvPr>
            <p:cNvSpPr/>
            <p:nvPr/>
          </p:nvSpPr>
          <p:spPr>
            <a:xfrm>
              <a:off x="4302177" y="1439056"/>
              <a:ext cx="329784" cy="284813"/>
            </a:xfrm>
            <a:prstGeom prst="rect">
              <a:avLst/>
            </a:prstGeom>
            <a:noFill/>
            <a:ln w="9525">
              <a:solidFill>
                <a:srgbClr val="176739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29" name="Graphic 28">
              <a:extLst>
                <a:ext uri="{FF2B5EF4-FFF2-40B4-BE49-F238E27FC236}">
                  <a16:creationId xmlns:a16="http://schemas.microsoft.com/office/drawing/2014/main" id="{E48787C2-4C35-B546-BA27-4128AA4991E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 b="27222"/>
            <a:stretch/>
          </p:blipFill>
          <p:spPr>
            <a:xfrm>
              <a:off x="4340532" y="1355372"/>
              <a:ext cx="417964" cy="365937"/>
            </a:xfrm>
            <a:prstGeom prst="rect">
              <a:avLst/>
            </a:prstGeom>
          </p:spPr>
        </p:pic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3629F9E4-2404-BF40-8004-81205E67A757}"/>
              </a:ext>
            </a:extLst>
          </p:cNvPr>
          <p:cNvGrpSpPr/>
          <p:nvPr/>
        </p:nvGrpSpPr>
        <p:grpSpPr>
          <a:xfrm>
            <a:off x="3879284" y="4157570"/>
            <a:ext cx="243461" cy="196605"/>
            <a:chOff x="4302177" y="1355372"/>
            <a:chExt cx="456319" cy="368497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71893F9F-9906-F245-9AD8-0034FE981580}"/>
                </a:ext>
              </a:extLst>
            </p:cNvPr>
            <p:cNvSpPr/>
            <p:nvPr/>
          </p:nvSpPr>
          <p:spPr>
            <a:xfrm>
              <a:off x="4302177" y="1439056"/>
              <a:ext cx="329784" cy="284813"/>
            </a:xfrm>
            <a:prstGeom prst="rect">
              <a:avLst/>
            </a:prstGeom>
            <a:noFill/>
            <a:ln w="9525">
              <a:solidFill>
                <a:srgbClr val="176739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32" name="Graphic 31">
              <a:extLst>
                <a:ext uri="{FF2B5EF4-FFF2-40B4-BE49-F238E27FC236}">
                  <a16:creationId xmlns:a16="http://schemas.microsoft.com/office/drawing/2014/main" id="{AB0E4E8C-05AE-AA43-ACD4-A46AC1E2D0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 b="27222"/>
            <a:stretch/>
          </p:blipFill>
          <p:spPr>
            <a:xfrm>
              <a:off x="4340532" y="1355372"/>
              <a:ext cx="417964" cy="365937"/>
            </a:xfrm>
            <a:prstGeom prst="rect">
              <a:avLst/>
            </a:prstGeom>
          </p:spPr>
        </p:pic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839219AE-2B31-8C4D-9AE9-B4AFE7708972}"/>
              </a:ext>
            </a:extLst>
          </p:cNvPr>
          <p:cNvGrpSpPr/>
          <p:nvPr/>
        </p:nvGrpSpPr>
        <p:grpSpPr>
          <a:xfrm>
            <a:off x="3879284" y="3907309"/>
            <a:ext cx="243461" cy="196605"/>
            <a:chOff x="4302177" y="1355372"/>
            <a:chExt cx="456319" cy="368497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156A526D-443D-4A4C-A5AA-C73C9EF0BF1F}"/>
                </a:ext>
              </a:extLst>
            </p:cNvPr>
            <p:cNvSpPr/>
            <p:nvPr/>
          </p:nvSpPr>
          <p:spPr>
            <a:xfrm>
              <a:off x="4302177" y="1439056"/>
              <a:ext cx="329784" cy="284813"/>
            </a:xfrm>
            <a:prstGeom prst="rect">
              <a:avLst/>
            </a:prstGeom>
            <a:noFill/>
            <a:ln w="9525">
              <a:solidFill>
                <a:srgbClr val="176739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BFA80B66-4FA5-CA4B-A01F-32A56C25123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 b="27222"/>
            <a:stretch/>
          </p:blipFill>
          <p:spPr>
            <a:xfrm>
              <a:off x="4340532" y="1355372"/>
              <a:ext cx="417964" cy="365937"/>
            </a:xfrm>
            <a:prstGeom prst="rect">
              <a:avLst/>
            </a:prstGeom>
          </p:spPr>
        </p:pic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FD7C5EB2-F739-C74E-96D7-473FF328A269}"/>
              </a:ext>
            </a:extLst>
          </p:cNvPr>
          <p:cNvGrpSpPr/>
          <p:nvPr/>
        </p:nvGrpSpPr>
        <p:grpSpPr>
          <a:xfrm>
            <a:off x="7924799" y="1477953"/>
            <a:ext cx="243461" cy="196605"/>
            <a:chOff x="4302177" y="1355372"/>
            <a:chExt cx="456319" cy="368497"/>
          </a:xfrm>
        </p:grpSpPr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C8706972-6B39-8142-ABB1-BE8B4BA8B42D}"/>
                </a:ext>
              </a:extLst>
            </p:cNvPr>
            <p:cNvSpPr/>
            <p:nvPr/>
          </p:nvSpPr>
          <p:spPr>
            <a:xfrm>
              <a:off x="4302177" y="1439056"/>
              <a:ext cx="329784" cy="284813"/>
            </a:xfrm>
            <a:prstGeom prst="rect">
              <a:avLst/>
            </a:prstGeom>
            <a:noFill/>
            <a:ln w="9525">
              <a:solidFill>
                <a:srgbClr val="176739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67" name="Graphic 66">
              <a:extLst>
                <a:ext uri="{FF2B5EF4-FFF2-40B4-BE49-F238E27FC236}">
                  <a16:creationId xmlns:a16="http://schemas.microsoft.com/office/drawing/2014/main" id="{285F569C-C5A3-3643-8169-272B430CAA0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 b="27222"/>
            <a:stretch/>
          </p:blipFill>
          <p:spPr>
            <a:xfrm>
              <a:off x="4340532" y="1355372"/>
              <a:ext cx="417964" cy="365937"/>
            </a:xfrm>
            <a:prstGeom prst="rect">
              <a:avLst/>
            </a:prstGeom>
          </p:spPr>
        </p:pic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D3E19E8B-1ED2-624D-91C9-1681F02920A2}"/>
              </a:ext>
            </a:extLst>
          </p:cNvPr>
          <p:cNvGrpSpPr/>
          <p:nvPr/>
        </p:nvGrpSpPr>
        <p:grpSpPr>
          <a:xfrm>
            <a:off x="7924799" y="2219461"/>
            <a:ext cx="243461" cy="196605"/>
            <a:chOff x="4302177" y="1355372"/>
            <a:chExt cx="456319" cy="368497"/>
          </a:xfrm>
        </p:grpSpPr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74856141-8359-914A-813D-51D4E79D26D0}"/>
                </a:ext>
              </a:extLst>
            </p:cNvPr>
            <p:cNvSpPr/>
            <p:nvPr/>
          </p:nvSpPr>
          <p:spPr>
            <a:xfrm>
              <a:off x="4302177" y="1439056"/>
              <a:ext cx="329784" cy="284813"/>
            </a:xfrm>
            <a:prstGeom prst="rect">
              <a:avLst/>
            </a:prstGeom>
            <a:noFill/>
            <a:ln w="9525">
              <a:solidFill>
                <a:srgbClr val="176739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70" name="Graphic 69">
              <a:extLst>
                <a:ext uri="{FF2B5EF4-FFF2-40B4-BE49-F238E27FC236}">
                  <a16:creationId xmlns:a16="http://schemas.microsoft.com/office/drawing/2014/main" id="{D8EAE4FE-DBEA-5346-A16C-B4317ADD8D4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 b="27222"/>
            <a:stretch/>
          </p:blipFill>
          <p:spPr>
            <a:xfrm>
              <a:off x="4340532" y="1355372"/>
              <a:ext cx="417964" cy="365937"/>
            </a:xfrm>
            <a:prstGeom prst="rect">
              <a:avLst/>
            </a:prstGeom>
          </p:spPr>
        </p:pic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10CDBC8B-D638-114A-8172-E2CA18B1BC18}"/>
              </a:ext>
            </a:extLst>
          </p:cNvPr>
          <p:cNvGrpSpPr/>
          <p:nvPr/>
        </p:nvGrpSpPr>
        <p:grpSpPr>
          <a:xfrm>
            <a:off x="7924799" y="1755664"/>
            <a:ext cx="243461" cy="196605"/>
            <a:chOff x="4302177" y="1355372"/>
            <a:chExt cx="456319" cy="368497"/>
          </a:xfrm>
        </p:grpSpPr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658B827E-99C5-0846-9D24-975D6917F032}"/>
                </a:ext>
              </a:extLst>
            </p:cNvPr>
            <p:cNvSpPr/>
            <p:nvPr/>
          </p:nvSpPr>
          <p:spPr>
            <a:xfrm>
              <a:off x="4302177" y="1439056"/>
              <a:ext cx="329784" cy="284813"/>
            </a:xfrm>
            <a:prstGeom prst="rect">
              <a:avLst/>
            </a:prstGeom>
            <a:noFill/>
            <a:ln w="9525">
              <a:solidFill>
                <a:srgbClr val="176739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76" name="Graphic 75">
              <a:extLst>
                <a:ext uri="{FF2B5EF4-FFF2-40B4-BE49-F238E27FC236}">
                  <a16:creationId xmlns:a16="http://schemas.microsoft.com/office/drawing/2014/main" id="{77A9257C-4F58-3A40-8D98-E0C74AA7D9D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 b="27222"/>
            <a:stretch/>
          </p:blipFill>
          <p:spPr>
            <a:xfrm>
              <a:off x="4340532" y="1355372"/>
              <a:ext cx="417964" cy="365937"/>
            </a:xfrm>
            <a:prstGeom prst="rect">
              <a:avLst/>
            </a:prstGeom>
          </p:spPr>
        </p:pic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43053E0A-DB5A-2147-8437-07EA795BBE3B}"/>
              </a:ext>
            </a:extLst>
          </p:cNvPr>
          <p:cNvGrpSpPr/>
          <p:nvPr/>
        </p:nvGrpSpPr>
        <p:grpSpPr>
          <a:xfrm>
            <a:off x="7924799" y="2577854"/>
            <a:ext cx="243461" cy="196605"/>
            <a:chOff x="4302177" y="1355372"/>
            <a:chExt cx="456319" cy="368497"/>
          </a:xfrm>
        </p:grpSpPr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533B12F6-FC21-F845-9381-50F0FA262223}"/>
                </a:ext>
              </a:extLst>
            </p:cNvPr>
            <p:cNvSpPr/>
            <p:nvPr/>
          </p:nvSpPr>
          <p:spPr>
            <a:xfrm>
              <a:off x="4302177" y="1439056"/>
              <a:ext cx="329784" cy="284813"/>
            </a:xfrm>
            <a:prstGeom prst="rect">
              <a:avLst/>
            </a:prstGeom>
            <a:noFill/>
            <a:ln w="9525">
              <a:solidFill>
                <a:srgbClr val="176739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79" name="Graphic 78">
              <a:extLst>
                <a:ext uri="{FF2B5EF4-FFF2-40B4-BE49-F238E27FC236}">
                  <a16:creationId xmlns:a16="http://schemas.microsoft.com/office/drawing/2014/main" id="{7D6D92FE-3186-024E-98B3-9DC33F2C3B5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 b="27222"/>
            <a:stretch/>
          </p:blipFill>
          <p:spPr>
            <a:xfrm>
              <a:off x="4340532" y="1355372"/>
              <a:ext cx="417964" cy="365937"/>
            </a:xfrm>
            <a:prstGeom prst="rect">
              <a:avLst/>
            </a:prstGeom>
          </p:spPr>
        </p:pic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D071A4EB-3D7F-9D49-AAFB-B88C9FE35B14}"/>
              </a:ext>
            </a:extLst>
          </p:cNvPr>
          <p:cNvGrpSpPr/>
          <p:nvPr/>
        </p:nvGrpSpPr>
        <p:grpSpPr>
          <a:xfrm>
            <a:off x="7924799" y="2947133"/>
            <a:ext cx="243461" cy="196605"/>
            <a:chOff x="4302177" y="1355372"/>
            <a:chExt cx="456319" cy="368497"/>
          </a:xfrm>
        </p:grpSpPr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8880F81E-4D55-7A4F-B1AA-6F182C1E4D85}"/>
                </a:ext>
              </a:extLst>
            </p:cNvPr>
            <p:cNvSpPr/>
            <p:nvPr/>
          </p:nvSpPr>
          <p:spPr>
            <a:xfrm>
              <a:off x="4302177" y="1439056"/>
              <a:ext cx="329784" cy="284813"/>
            </a:xfrm>
            <a:prstGeom prst="rect">
              <a:avLst/>
            </a:prstGeom>
            <a:noFill/>
            <a:ln w="9525">
              <a:solidFill>
                <a:srgbClr val="176739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82" name="Graphic 81">
              <a:extLst>
                <a:ext uri="{FF2B5EF4-FFF2-40B4-BE49-F238E27FC236}">
                  <a16:creationId xmlns:a16="http://schemas.microsoft.com/office/drawing/2014/main" id="{9BD42E96-621F-224E-B5A9-D19924AA4CF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 b="27222"/>
            <a:stretch/>
          </p:blipFill>
          <p:spPr>
            <a:xfrm>
              <a:off x="4340532" y="1355372"/>
              <a:ext cx="417964" cy="365937"/>
            </a:xfrm>
            <a:prstGeom prst="rect">
              <a:avLst/>
            </a:prstGeom>
          </p:spPr>
        </p:pic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A397B2CC-C5B6-BE4A-B92F-649E39287722}"/>
              </a:ext>
            </a:extLst>
          </p:cNvPr>
          <p:cNvGrpSpPr/>
          <p:nvPr/>
        </p:nvGrpSpPr>
        <p:grpSpPr>
          <a:xfrm>
            <a:off x="7924799" y="3642538"/>
            <a:ext cx="243461" cy="196605"/>
            <a:chOff x="4302177" y="1355372"/>
            <a:chExt cx="456319" cy="368497"/>
          </a:xfrm>
        </p:grpSpPr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E31F934F-5813-4E48-B6C1-B3362A86DC72}"/>
                </a:ext>
              </a:extLst>
            </p:cNvPr>
            <p:cNvSpPr/>
            <p:nvPr/>
          </p:nvSpPr>
          <p:spPr>
            <a:xfrm>
              <a:off x="4302177" y="1439056"/>
              <a:ext cx="329784" cy="284813"/>
            </a:xfrm>
            <a:prstGeom prst="rect">
              <a:avLst/>
            </a:prstGeom>
            <a:noFill/>
            <a:ln w="9525">
              <a:solidFill>
                <a:srgbClr val="176739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85" name="Graphic 84">
              <a:extLst>
                <a:ext uri="{FF2B5EF4-FFF2-40B4-BE49-F238E27FC236}">
                  <a16:creationId xmlns:a16="http://schemas.microsoft.com/office/drawing/2014/main" id="{F32E3B0E-DFC8-6E4D-B67F-2C64DB4918C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 b="27222"/>
            <a:stretch/>
          </p:blipFill>
          <p:spPr>
            <a:xfrm>
              <a:off x="4340532" y="1355372"/>
              <a:ext cx="417964" cy="365937"/>
            </a:xfrm>
            <a:prstGeom prst="rect">
              <a:avLst/>
            </a:prstGeom>
          </p:spPr>
        </p:pic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68F16D1F-12C7-4545-896C-7A1A81A8200C}"/>
              </a:ext>
            </a:extLst>
          </p:cNvPr>
          <p:cNvGrpSpPr/>
          <p:nvPr/>
        </p:nvGrpSpPr>
        <p:grpSpPr>
          <a:xfrm>
            <a:off x="7924799" y="3305526"/>
            <a:ext cx="243461" cy="196605"/>
            <a:chOff x="4302177" y="1355372"/>
            <a:chExt cx="456319" cy="368497"/>
          </a:xfrm>
        </p:grpSpPr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9524363-DFE2-2D48-B965-A06E21B74C9A}"/>
                </a:ext>
              </a:extLst>
            </p:cNvPr>
            <p:cNvSpPr/>
            <p:nvPr/>
          </p:nvSpPr>
          <p:spPr>
            <a:xfrm>
              <a:off x="4302177" y="1439056"/>
              <a:ext cx="329784" cy="284813"/>
            </a:xfrm>
            <a:prstGeom prst="rect">
              <a:avLst/>
            </a:prstGeom>
            <a:noFill/>
            <a:ln w="9525">
              <a:solidFill>
                <a:srgbClr val="176739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91" name="Graphic 90">
              <a:extLst>
                <a:ext uri="{FF2B5EF4-FFF2-40B4-BE49-F238E27FC236}">
                  <a16:creationId xmlns:a16="http://schemas.microsoft.com/office/drawing/2014/main" id="{E54CB447-79C4-DA4B-B7C7-FA00209F82F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 b="27222"/>
            <a:stretch/>
          </p:blipFill>
          <p:spPr>
            <a:xfrm>
              <a:off x="4340532" y="1355372"/>
              <a:ext cx="417964" cy="365937"/>
            </a:xfrm>
            <a:prstGeom prst="rect">
              <a:avLst/>
            </a:prstGeom>
          </p:spPr>
        </p:pic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B74B5E99-1973-404E-937E-314D6794CB5B}"/>
              </a:ext>
            </a:extLst>
          </p:cNvPr>
          <p:cNvGrpSpPr/>
          <p:nvPr/>
        </p:nvGrpSpPr>
        <p:grpSpPr>
          <a:xfrm>
            <a:off x="7924799" y="3879908"/>
            <a:ext cx="243461" cy="196605"/>
            <a:chOff x="4302177" y="1355372"/>
            <a:chExt cx="456319" cy="368497"/>
          </a:xfrm>
        </p:grpSpPr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5FBCAA05-0CF4-1D4C-887C-6C30CECAFB92}"/>
                </a:ext>
              </a:extLst>
            </p:cNvPr>
            <p:cNvSpPr/>
            <p:nvPr/>
          </p:nvSpPr>
          <p:spPr>
            <a:xfrm>
              <a:off x="4302177" y="1439056"/>
              <a:ext cx="329784" cy="284813"/>
            </a:xfrm>
            <a:prstGeom prst="rect">
              <a:avLst/>
            </a:prstGeom>
            <a:noFill/>
            <a:ln w="9525">
              <a:solidFill>
                <a:srgbClr val="176739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94" name="Graphic 93">
              <a:extLst>
                <a:ext uri="{FF2B5EF4-FFF2-40B4-BE49-F238E27FC236}">
                  <a16:creationId xmlns:a16="http://schemas.microsoft.com/office/drawing/2014/main" id="{561BEFE9-2E52-AC46-8689-EBF68BEE502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 b="27222"/>
            <a:stretch/>
          </p:blipFill>
          <p:spPr>
            <a:xfrm>
              <a:off x="4340532" y="1355372"/>
              <a:ext cx="417964" cy="365937"/>
            </a:xfrm>
            <a:prstGeom prst="rect">
              <a:avLst/>
            </a:prstGeom>
          </p:spPr>
        </p:pic>
      </p:grpSp>
      <p:grpSp>
        <p:nvGrpSpPr>
          <p:cNvPr id="95" name="Group 94">
            <a:extLst>
              <a:ext uri="{FF2B5EF4-FFF2-40B4-BE49-F238E27FC236}">
                <a16:creationId xmlns:a16="http://schemas.microsoft.com/office/drawing/2014/main" id="{E89FC551-EA41-BB41-A464-538CBBAC59A3}"/>
              </a:ext>
            </a:extLst>
          </p:cNvPr>
          <p:cNvGrpSpPr/>
          <p:nvPr/>
        </p:nvGrpSpPr>
        <p:grpSpPr>
          <a:xfrm>
            <a:off x="7924799" y="4150771"/>
            <a:ext cx="243461" cy="196605"/>
            <a:chOff x="4302177" y="1355372"/>
            <a:chExt cx="456319" cy="368497"/>
          </a:xfrm>
        </p:grpSpPr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0BE1C840-A47E-594E-BABE-378EC8710957}"/>
                </a:ext>
              </a:extLst>
            </p:cNvPr>
            <p:cNvSpPr/>
            <p:nvPr/>
          </p:nvSpPr>
          <p:spPr>
            <a:xfrm>
              <a:off x="4302177" y="1439056"/>
              <a:ext cx="329784" cy="284813"/>
            </a:xfrm>
            <a:prstGeom prst="rect">
              <a:avLst/>
            </a:prstGeom>
            <a:noFill/>
            <a:ln w="9525">
              <a:solidFill>
                <a:srgbClr val="176739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97" name="Graphic 96">
              <a:extLst>
                <a:ext uri="{FF2B5EF4-FFF2-40B4-BE49-F238E27FC236}">
                  <a16:creationId xmlns:a16="http://schemas.microsoft.com/office/drawing/2014/main" id="{20C13C29-E0EE-D04E-A796-0B9F138206E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 b="27222"/>
            <a:stretch/>
          </p:blipFill>
          <p:spPr>
            <a:xfrm>
              <a:off x="4340532" y="1355372"/>
              <a:ext cx="417964" cy="365937"/>
            </a:xfrm>
            <a:prstGeom prst="rect">
              <a:avLst/>
            </a:prstGeom>
          </p:spPr>
        </p:pic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C1000B1E-367D-894B-BE5D-52BF86A907E9}"/>
              </a:ext>
            </a:extLst>
          </p:cNvPr>
          <p:cNvGrpSpPr/>
          <p:nvPr/>
        </p:nvGrpSpPr>
        <p:grpSpPr>
          <a:xfrm>
            <a:off x="7924799" y="4439368"/>
            <a:ext cx="243461" cy="196605"/>
            <a:chOff x="4302177" y="1355372"/>
            <a:chExt cx="456319" cy="368497"/>
          </a:xfrm>
        </p:grpSpPr>
        <p:sp>
          <p:nvSpPr>
            <p:cNvPr id="99" name="Rectangle 98">
              <a:extLst>
                <a:ext uri="{FF2B5EF4-FFF2-40B4-BE49-F238E27FC236}">
                  <a16:creationId xmlns:a16="http://schemas.microsoft.com/office/drawing/2014/main" id="{8015DFB7-2B5B-924D-966F-306C20A702A5}"/>
                </a:ext>
              </a:extLst>
            </p:cNvPr>
            <p:cNvSpPr/>
            <p:nvPr/>
          </p:nvSpPr>
          <p:spPr>
            <a:xfrm>
              <a:off x="4302177" y="1439056"/>
              <a:ext cx="329784" cy="284813"/>
            </a:xfrm>
            <a:prstGeom prst="rect">
              <a:avLst/>
            </a:prstGeom>
            <a:noFill/>
            <a:ln w="9525">
              <a:solidFill>
                <a:srgbClr val="176739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100" name="Graphic 99">
              <a:extLst>
                <a:ext uri="{FF2B5EF4-FFF2-40B4-BE49-F238E27FC236}">
                  <a16:creationId xmlns:a16="http://schemas.microsoft.com/office/drawing/2014/main" id="{976DF426-020E-9D45-8117-619B6D33B6E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 b="27222"/>
            <a:stretch/>
          </p:blipFill>
          <p:spPr>
            <a:xfrm>
              <a:off x="4340532" y="1355372"/>
              <a:ext cx="417964" cy="365937"/>
            </a:xfrm>
            <a:prstGeom prst="rect">
              <a:avLst/>
            </a:prstGeom>
          </p:spPr>
        </p:pic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7DB03C40-3EA4-BD41-9EAC-8C40BFB757C4}"/>
              </a:ext>
            </a:extLst>
          </p:cNvPr>
          <p:cNvGrpSpPr/>
          <p:nvPr/>
        </p:nvGrpSpPr>
        <p:grpSpPr>
          <a:xfrm>
            <a:off x="7924799" y="5121326"/>
            <a:ext cx="243461" cy="196605"/>
            <a:chOff x="4302177" y="1355372"/>
            <a:chExt cx="456319" cy="368497"/>
          </a:xfrm>
        </p:grpSpPr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A0598FCC-1577-214E-ABEC-2D1CED3D73B3}"/>
                </a:ext>
              </a:extLst>
            </p:cNvPr>
            <p:cNvSpPr/>
            <p:nvPr/>
          </p:nvSpPr>
          <p:spPr>
            <a:xfrm>
              <a:off x="4302177" y="1439056"/>
              <a:ext cx="329784" cy="284813"/>
            </a:xfrm>
            <a:prstGeom prst="rect">
              <a:avLst/>
            </a:prstGeom>
            <a:noFill/>
            <a:ln w="9525">
              <a:solidFill>
                <a:srgbClr val="176739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103" name="Graphic 102">
              <a:extLst>
                <a:ext uri="{FF2B5EF4-FFF2-40B4-BE49-F238E27FC236}">
                  <a16:creationId xmlns:a16="http://schemas.microsoft.com/office/drawing/2014/main" id="{C860840F-2C4D-4D4C-BCB0-EB84B27152F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 b="27222"/>
            <a:stretch/>
          </p:blipFill>
          <p:spPr>
            <a:xfrm>
              <a:off x="4340532" y="1355372"/>
              <a:ext cx="417964" cy="365937"/>
            </a:xfrm>
            <a:prstGeom prst="rect">
              <a:avLst/>
            </a:prstGeom>
          </p:spPr>
        </p:pic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B7914614-6CC2-244E-8D54-F83A59605030}"/>
              </a:ext>
            </a:extLst>
          </p:cNvPr>
          <p:cNvGrpSpPr/>
          <p:nvPr/>
        </p:nvGrpSpPr>
        <p:grpSpPr>
          <a:xfrm>
            <a:off x="7924799" y="5553553"/>
            <a:ext cx="243461" cy="196605"/>
            <a:chOff x="4302177" y="1355372"/>
            <a:chExt cx="456319" cy="368497"/>
          </a:xfrm>
        </p:grpSpPr>
        <p:sp>
          <p:nvSpPr>
            <p:cNvPr id="105" name="Rectangle 104">
              <a:extLst>
                <a:ext uri="{FF2B5EF4-FFF2-40B4-BE49-F238E27FC236}">
                  <a16:creationId xmlns:a16="http://schemas.microsoft.com/office/drawing/2014/main" id="{C8554916-7669-7C4A-B8B6-682BDA66A52B}"/>
                </a:ext>
              </a:extLst>
            </p:cNvPr>
            <p:cNvSpPr/>
            <p:nvPr/>
          </p:nvSpPr>
          <p:spPr>
            <a:xfrm>
              <a:off x="4302177" y="1439056"/>
              <a:ext cx="329784" cy="284813"/>
            </a:xfrm>
            <a:prstGeom prst="rect">
              <a:avLst/>
            </a:prstGeom>
            <a:noFill/>
            <a:ln w="9525">
              <a:solidFill>
                <a:srgbClr val="176739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106" name="Graphic 105">
              <a:extLst>
                <a:ext uri="{FF2B5EF4-FFF2-40B4-BE49-F238E27FC236}">
                  <a16:creationId xmlns:a16="http://schemas.microsoft.com/office/drawing/2014/main" id="{469322EE-1894-9543-8CF5-CEE970BAF65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 b="27222"/>
            <a:stretch/>
          </p:blipFill>
          <p:spPr>
            <a:xfrm>
              <a:off x="4340532" y="1355372"/>
              <a:ext cx="417964" cy="365937"/>
            </a:xfrm>
            <a:prstGeom prst="rect">
              <a:avLst/>
            </a:prstGeom>
          </p:spPr>
        </p:pic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293E86A6-9E23-624D-8553-A59BBCFD4E85}"/>
              </a:ext>
            </a:extLst>
          </p:cNvPr>
          <p:cNvGrpSpPr/>
          <p:nvPr/>
        </p:nvGrpSpPr>
        <p:grpSpPr>
          <a:xfrm>
            <a:off x="7924799" y="4784314"/>
            <a:ext cx="243461" cy="196605"/>
            <a:chOff x="4302177" y="1355372"/>
            <a:chExt cx="456319" cy="368497"/>
          </a:xfrm>
        </p:grpSpPr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243AF4EE-E200-8D47-9F48-2114DB2605EF}"/>
                </a:ext>
              </a:extLst>
            </p:cNvPr>
            <p:cNvSpPr/>
            <p:nvPr/>
          </p:nvSpPr>
          <p:spPr>
            <a:xfrm>
              <a:off x="4302177" y="1439056"/>
              <a:ext cx="329784" cy="284813"/>
            </a:xfrm>
            <a:prstGeom prst="rect">
              <a:avLst/>
            </a:prstGeom>
            <a:noFill/>
            <a:ln w="9525">
              <a:solidFill>
                <a:srgbClr val="176739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109" name="Graphic 108">
              <a:extLst>
                <a:ext uri="{FF2B5EF4-FFF2-40B4-BE49-F238E27FC236}">
                  <a16:creationId xmlns:a16="http://schemas.microsoft.com/office/drawing/2014/main" id="{C14E012D-91F3-5D4F-8D79-8DAA5121536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 b="27222"/>
            <a:stretch/>
          </p:blipFill>
          <p:spPr>
            <a:xfrm>
              <a:off x="4340532" y="1355372"/>
              <a:ext cx="417964" cy="365937"/>
            </a:xfrm>
            <a:prstGeom prst="rect">
              <a:avLst/>
            </a:prstGeom>
          </p:spPr>
        </p:pic>
      </p:grp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1CF723F4-21ED-554E-A719-1E6076EAEF49}"/>
              </a:ext>
            </a:extLst>
          </p:cNvPr>
          <p:cNvGrpSpPr/>
          <p:nvPr/>
        </p:nvGrpSpPr>
        <p:grpSpPr>
          <a:xfrm>
            <a:off x="7924799" y="5331802"/>
            <a:ext cx="243461" cy="196605"/>
            <a:chOff x="4302177" y="1355372"/>
            <a:chExt cx="456319" cy="368497"/>
          </a:xfrm>
        </p:grpSpPr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D88ECE5D-3790-1549-9FE6-C11187CF5610}"/>
                </a:ext>
              </a:extLst>
            </p:cNvPr>
            <p:cNvSpPr/>
            <p:nvPr/>
          </p:nvSpPr>
          <p:spPr>
            <a:xfrm>
              <a:off x="4302177" y="1439056"/>
              <a:ext cx="329784" cy="284813"/>
            </a:xfrm>
            <a:prstGeom prst="rect">
              <a:avLst/>
            </a:prstGeom>
            <a:noFill/>
            <a:ln w="9525">
              <a:solidFill>
                <a:srgbClr val="176739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112" name="Graphic 111">
              <a:extLst>
                <a:ext uri="{FF2B5EF4-FFF2-40B4-BE49-F238E27FC236}">
                  <a16:creationId xmlns:a16="http://schemas.microsoft.com/office/drawing/2014/main" id="{A760390B-1B3B-EC4D-804F-5006E60A3D1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 b="27222"/>
            <a:stretch/>
          </p:blipFill>
          <p:spPr>
            <a:xfrm>
              <a:off x="4340532" y="1355372"/>
              <a:ext cx="417964" cy="365937"/>
            </a:xfrm>
            <a:prstGeom prst="rect">
              <a:avLst/>
            </a:prstGeom>
          </p:spPr>
        </p:pic>
      </p:grpSp>
      <p:sp>
        <p:nvSpPr>
          <p:cNvPr id="116" name="Rectangle 115">
            <a:extLst>
              <a:ext uri="{FF2B5EF4-FFF2-40B4-BE49-F238E27FC236}">
                <a16:creationId xmlns:a16="http://schemas.microsoft.com/office/drawing/2014/main" id="{4C619CE7-DFBD-CE45-BBE1-29CA99AC3906}"/>
              </a:ext>
            </a:extLst>
          </p:cNvPr>
          <p:cNvSpPr/>
          <p:nvPr/>
        </p:nvSpPr>
        <p:spPr>
          <a:xfrm>
            <a:off x="224566" y="1230048"/>
            <a:ext cx="3434593" cy="1660072"/>
          </a:xfrm>
          <a:prstGeom prst="rect">
            <a:avLst/>
          </a:prstGeom>
          <a:solidFill>
            <a:srgbClr val="176739">
              <a:alpha val="3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131B0C00-86ED-8B44-B406-5D3C11379A64}"/>
              </a:ext>
            </a:extLst>
          </p:cNvPr>
          <p:cNvSpPr txBox="1"/>
          <p:nvPr/>
        </p:nvSpPr>
        <p:spPr>
          <a:xfrm>
            <a:off x="204808" y="2890120"/>
            <a:ext cx="350851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00" b="1" dirty="0">
                <a:solidFill>
                  <a:schemeClr val="bg1"/>
                </a:solidFill>
                <a:latin typeface="Century Gothic" panose="020B0502020202020204" pitchFamily="34" charset="0"/>
              </a:rPr>
              <a:t>What collateral do I need?</a:t>
            </a: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9D230A14-021A-274A-99E1-568063C23173}"/>
              </a:ext>
            </a:extLst>
          </p:cNvPr>
          <p:cNvSpPr txBox="1"/>
          <p:nvPr/>
        </p:nvSpPr>
        <p:spPr>
          <a:xfrm>
            <a:off x="5225738" y="891494"/>
            <a:ext cx="4543778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00" b="1" dirty="0">
                <a:solidFill>
                  <a:schemeClr val="bg1"/>
                </a:solidFill>
                <a:latin typeface="Century Gothic" panose="020B0502020202020204" pitchFamily="34" charset="0"/>
              </a:rPr>
              <a:t>What documents do I need to apply?</a:t>
            </a: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AA2275D8-222B-1D47-946B-91EA35FB0FF3}"/>
              </a:ext>
            </a:extLst>
          </p:cNvPr>
          <p:cNvSpPr txBox="1"/>
          <p:nvPr/>
        </p:nvSpPr>
        <p:spPr>
          <a:xfrm>
            <a:off x="150638" y="538344"/>
            <a:ext cx="43478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dirty="0">
                <a:solidFill>
                  <a:schemeClr val="accent6"/>
                </a:solidFill>
                <a:latin typeface="Century Gothic" panose="020B0502020202020204" pitchFamily="34" charset="0"/>
              </a:rPr>
              <a:t>For NEP- prequalified applicants only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8142D890-5B09-A948-B4FA-E3ADC46982C2}"/>
              </a:ext>
            </a:extLst>
          </p:cNvPr>
          <p:cNvSpPr txBox="1"/>
          <p:nvPr/>
        </p:nvSpPr>
        <p:spPr>
          <a:xfrm>
            <a:off x="150638" y="253655"/>
            <a:ext cx="118802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>
                <a:solidFill>
                  <a:srgbClr val="176739"/>
                </a:solidFill>
                <a:latin typeface="Century Gothic" panose="020B0502020202020204" pitchFamily="34" charset="0"/>
              </a:rPr>
              <a:t>5M SOLAR CONNECTION FACILITY: </a:t>
            </a:r>
            <a:r>
              <a:rPr lang="en-US" sz="1800" dirty="0">
                <a:solidFill>
                  <a:srgbClr val="176739"/>
                </a:solidFill>
                <a:latin typeface="Century Gothic" panose="020B0502020202020204" pitchFamily="34" charset="0"/>
              </a:rPr>
              <a:t>APPLICATION GUIDELINES - DOWNSTREAM APPLICANTS</a:t>
            </a: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3D463A8B-22E9-F04E-BDD2-7F3D117EEB39}"/>
              </a:ext>
            </a:extLst>
          </p:cNvPr>
          <p:cNvSpPr/>
          <p:nvPr/>
        </p:nvSpPr>
        <p:spPr>
          <a:xfrm>
            <a:off x="233616" y="4931735"/>
            <a:ext cx="3434592" cy="338554"/>
          </a:xfrm>
          <a:prstGeom prst="rect">
            <a:avLst/>
          </a:prstGeom>
          <a:solidFill>
            <a:srgbClr val="17673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B5E73A66-96C3-E248-A48D-D5E7B63CA0C5}"/>
              </a:ext>
            </a:extLst>
          </p:cNvPr>
          <p:cNvSpPr txBox="1"/>
          <p:nvPr/>
        </p:nvSpPr>
        <p:spPr>
          <a:xfrm>
            <a:off x="197387" y="4955053"/>
            <a:ext cx="348810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00" b="1" dirty="0">
                <a:solidFill>
                  <a:schemeClr val="bg1"/>
                </a:solidFill>
                <a:latin typeface="Century Gothic" panose="020B0502020202020204" pitchFamily="34" charset="0"/>
              </a:rPr>
              <a:t>How long will the process take? </a:t>
            </a: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44BE0951-28F4-5544-B8F6-E9FE5C295129}"/>
              </a:ext>
            </a:extLst>
          </p:cNvPr>
          <p:cNvSpPr/>
          <p:nvPr/>
        </p:nvSpPr>
        <p:spPr>
          <a:xfrm>
            <a:off x="224566" y="892566"/>
            <a:ext cx="3436640" cy="338554"/>
          </a:xfrm>
          <a:prstGeom prst="rect">
            <a:avLst/>
          </a:prstGeom>
          <a:solidFill>
            <a:srgbClr val="17673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6439C203-988F-4043-8B99-D21B3BA1725A}"/>
              </a:ext>
            </a:extLst>
          </p:cNvPr>
          <p:cNvSpPr/>
          <p:nvPr/>
        </p:nvSpPr>
        <p:spPr>
          <a:xfrm>
            <a:off x="224566" y="3040449"/>
            <a:ext cx="3434593" cy="1496722"/>
          </a:xfrm>
          <a:prstGeom prst="rect">
            <a:avLst/>
          </a:prstGeom>
          <a:solidFill>
            <a:srgbClr val="176739">
              <a:alpha val="3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08B9B2B8-E6AB-1C40-ABA5-9C0C87F7120D}"/>
              </a:ext>
            </a:extLst>
          </p:cNvPr>
          <p:cNvSpPr/>
          <p:nvPr/>
        </p:nvSpPr>
        <p:spPr>
          <a:xfrm>
            <a:off x="233615" y="5280870"/>
            <a:ext cx="3434593" cy="1205597"/>
          </a:xfrm>
          <a:prstGeom prst="rect">
            <a:avLst/>
          </a:prstGeom>
          <a:solidFill>
            <a:srgbClr val="176739">
              <a:alpha val="3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r>
              <a:rPr lang="en-US" sz="1000" dirty="0">
                <a:solidFill>
                  <a:schemeClr val="tx1"/>
                </a:solidFill>
                <a:latin typeface="Century Gothic" panose="020B0502020202020204" pitchFamily="34" charset="0"/>
              </a:rPr>
              <a:t>The due diligence process will be completed within ~15 working days from submission where full set of required documents are provided. Note that applications will be processed on a first come, first serve basis thus timelines may be extended for delayed submission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3F022E9-06D1-4840-9C27-3BC2F71B34F6}"/>
              </a:ext>
            </a:extLst>
          </p:cNvPr>
          <p:cNvGrpSpPr/>
          <p:nvPr/>
        </p:nvGrpSpPr>
        <p:grpSpPr>
          <a:xfrm>
            <a:off x="4611749" y="6326011"/>
            <a:ext cx="2642855" cy="330645"/>
            <a:chOff x="4660288" y="6285432"/>
            <a:chExt cx="3036184" cy="379854"/>
          </a:xfrm>
        </p:grpSpPr>
        <p:pic>
          <p:nvPicPr>
            <p:cNvPr id="141" name="Google Shape;175;p1">
              <a:extLst>
                <a:ext uri="{FF2B5EF4-FFF2-40B4-BE49-F238E27FC236}">
                  <a16:creationId xmlns:a16="http://schemas.microsoft.com/office/drawing/2014/main" id="{0CBDF3B5-6A68-014B-A2E0-819C844934F2}"/>
                </a:ext>
              </a:extLst>
            </p:cNvPr>
            <p:cNvPicPr preferRelativeResize="0"/>
            <p:nvPr/>
          </p:nvPicPr>
          <p:blipFill rotWithShape="1">
            <a:blip r:embed="rId10">
              <a:alphaModFix/>
            </a:blip>
            <a:srcRect b="11322"/>
            <a:stretch/>
          </p:blipFill>
          <p:spPr>
            <a:xfrm>
              <a:off x="7050442" y="6285432"/>
              <a:ext cx="646030" cy="37985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192390" name="Picture 6" descr="Central Bank of Nigeria on Twitter: &quot;Nigeria's Foreign Exchange Reserves  was this morning boosted by over $200Million when the London Commercial  Court ordered the release of the $200Million guarantee put in place">
              <a:extLst>
                <a:ext uri="{FF2B5EF4-FFF2-40B4-BE49-F238E27FC236}">
                  <a16:creationId xmlns:a16="http://schemas.microsoft.com/office/drawing/2014/main" id="{8E6E2E68-12C7-3F42-91BF-6279E611586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60288" y="6303165"/>
              <a:ext cx="333490" cy="3334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92394" name="Picture 10" descr="Federal Ministry of Finance - Home | Facebook">
              <a:extLst>
                <a:ext uri="{FF2B5EF4-FFF2-40B4-BE49-F238E27FC236}">
                  <a16:creationId xmlns:a16="http://schemas.microsoft.com/office/drawing/2014/main" id="{E23D8686-9C91-7343-9A00-4780030388D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7486"/>
            <a:stretch/>
          </p:blipFill>
          <p:spPr bwMode="auto">
            <a:xfrm>
              <a:off x="5778792" y="6295750"/>
              <a:ext cx="486635" cy="3528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C5CBA17-0FC8-2744-8AA3-5FA3FFB7CFCA}"/>
              </a:ext>
            </a:extLst>
          </p:cNvPr>
          <p:cNvCxnSpPr>
            <a:cxnSpLocks/>
          </p:cNvCxnSpPr>
          <p:nvPr/>
        </p:nvCxnSpPr>
        <p:spPr>
          <a:xfrm>
            <a:off x="212478" y="6268612"/>
            <a:ext cx="11447436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TextBox 138">
            <a:extLst>
              <a:ext uri="{FF2B5EF4-FFF2-40B4-BE49-F238E27FC236}">
                <a16:creationId xmlns:a16="http://schemas.microsoft.com/office/drawing/2014/main" id="{15BFCC57-891A-E748-9896-1A23012D04AD}"/>
              </a:ext>
            </a:extLst>
          </p:cNvPr>
          <p:cNvSpPr txBox="1"/>
          <p:nvPr/>
        </p:nvSpPr>
        <p:spPr>
          <a:xfrm>
            <a:off x="-69275" y="867980"/>
            <a:ext cx="3508519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00" b="1" dirty="0">
                <a:solidFill>
                  <a:schemeClr val="bg1"/>
                </a:solidFill>
                <a:latin typeface="Century Gothic" panose="020B0502020202020204" pitchFamily="34" charset="0"/>
              </a:rPr>
              <a:t>How do I apply?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55C661C7-2565-1E4D-A7A9-80B855BBF325}"/>
              </a:ext>
            </a:extLst>
          </p:cNvPr>
          <p:cNvSpPr txBox="1"/>
          <p:nvPr/>
        </p:nvSpPr>
        <p:spPr>
          <a:xfrm>
            <a:off x="3770588" y="1242395"/>
            <a:ext cx="38161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176739"/>
                </a:solidFill>
                <a:latin typeface="Century Gothic" panose="020B0502020202020204" pitchFamily="34" charset="0"/>
              </a:rPr>
              <a:t>Core Documents Checklist</a:t>
            </a: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D39731AD-23F0-B241-BDC2-E297161D05A2}"/>
              </a:ext>
            </a:extLst>
          </p:cNvPr>
          <p:cNvSpPr txBox="1"/>
          <p:nvPr/>
        </p:nvSpPr>
        <p:spPr>
          <a:xfrm>
            <a:off x="7818480" y="1242395"/>
            <a:ext cx="38161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176739"/>
                </a:solidFill>
                <a:latin typeface="Century Gothic" panose="020B0502020202020204" pitchFamily="34" charset="0"/>
              </a:rPr>
              <a:t>Mini-Grid: Additional Documents Checklist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0ACB02A-C2EB-E748-800D-E81CABAE3DCF}"/>
              </a:ext>
            </a:extLst>
          </p:cNvPr>
          <p:cNvSpPr txBox="1"/>
          <p:nvPr/>
        </p:nvSpPr>
        <p:spPr>
          <a:xfrm>
            <a:off x="4115936" y="1477265"/>
            <a:ext cx="3552209" cy="2929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20000"/>
              </a:lnSpc>
              <a:spcAft>
                <a:spcPts val="300"/>
              </a:spcAft>
            </a:pPr>
            <a:r>
              <a:rPr lang="en-GB" sz="1000" dirty="0">
                <a:latin typeface="Century Gothic" panose="020B0502020202020204" pitchFamily="34" charset="0"/>
              </a:rPr>
              <a:t>KYC Documentations including bank account names, BVN, existing credit facilities and securities pledged</a:t>
            </a:r>
          </a:p>
          <a:p>
            <a:pPr lvl="0">
              <a:lnSpc>
                <a:spcPct val="120000"/>
              </a:lnSpc>
              <a:spcAft>
                <a:spcPts val="300"/>
              </a:spcAft>
            </a:pPr>
            <a:r>
              <a:rPr lang="en-GB" sz="1000" dirty="0">
                <a:latin typeface="Century Gothic" panose="020B0502020202020204" pitchFamily="34" charset="0"/>
              </a:rPr>
              <a:t>Information memorandum </a:t>
            </a:r>
          </a:p>
          <a:p>
            <a:pPr lvl="0">
              <a:lnSpc>
                <a:spcPct val="120000"/>
              </a:lnSpc>
              <a:spcAft>
                <a:spcPts val="300"/>
              </a:spcAft>
            </a:pPr>
            <a:r>
              <a:rPr lang="en-GB" sz="1000" dirty="0">
                <a:latin typeface="Century Gothic" panose="020B0502020202020204" pitchFamily="34" charset="0"/>
              </a:rPr>
              <a:t>Relevant corporate documentation on the project and corporate search on the principal promoters </a:t>
            </a:r>
          </a:p>
          <a:p>
            <a:pPr lvl="0">
              <a:lnSpc>
                <a:spcPct val="120000"/>
              </a:lnSpc>
              <a:spcAft>
                <a:spcPts val="300"/>
              </a:spcAft>
            </a:pPr>
            <a:r>
              <a:rPr lang="en-GB" sz="1000" dirty="0">
                <a:latin typeface="Century Gothic" panose="020B0502020202020204" pitchFamily="34" charset="0"/>
              </a:rPr>
              <a:t>Evidence of NEP pre-qualification approval and documentation including local content evidence</a:t>
            </a:r>
          </a:p>
          <a:p>
            <a:pPr lvl="0">
              <a:lnSpc>
                <a:spcPct val="120000"/>
              </a:lnSpc>
              <a:spcAft>
                <a:spcPts val="300"/>
              </a:spcAft>
            </a:pPr>
            <a:r>
              <a:rPr lang="en-GB" sz="1000" dirty="0">
                <a:latin typeface="Century Gothic" panose="020B0502020202020204" pitchFamily="34" charset="0"/>
              </a:rPr>
              <a:t>Detailed financial model with 5-year projected cash flows</a:t>
            </a:r>
          </a:p>
          <a:p>
            <a:pPr>
              <a:lnSpc>
                <a:spcPct val="120000"/>
              </a:lnSpc>
              <a:spcAft>
                <a:spcPts val="300"/>
              </a:spcAft>
            </a:pPr>
            <a:r>
              <a:rPr lang="en-GB" sz="1000" dirty="0">
                <a:latin typeface="Century Gothic" panose="020B0502020202020204" pitchFamily="34" charset="0"/>
              </a:rPr>
              <a:t>Three-year audited financial statements, tax clearance certificate and latest management accounts</a:t>
            </a:r>
          </a:p>
          <a:p>
            <a:pPr lvl="0">
              <a:lnSpc>
                <a:spcPct val="120000"/>
              </a:lnSpc>
              <a:spcAft>
                <a:spcPts val="300"/>
              </a:spcAft>
            </a:pPr>
            <a:r>
              <a:rPr lang="en-GB" sz="1000" dirty="0">
                <a:latin typeface="Century Gothic" panose="020B0502020202020204" pitchFamily="34" charset="0"/>
              </a:rPr>
              <a:t>Organizational chart</a:t>
            </a:r>
          </a:p>
          <a:p>
            <a:pPr lvl="0">
              <a:lnSpc>
                <a:spcPct val="120000"/>
              </a:lnSpc>
              <a:spcAft>
                <a:spcPts val="300"/>
              </a:spcAft>
            </a:pPr>
            <a:r>
              <a:rPr lang="en-GB" sz="1000" dirty="0">
                <a:latin typeface="Century Gothic" panose="020B0502020202020204" pitchFamily="34" charset="0"/>
              </a:rPr>
              <a:t>Credit report on the company from a credit bureau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FA3F4D0-D273-8248-B0E2-CBCC4EDE97EA}"/>
              </a:ext>
            </a:extLst>
          </p:cNvPr>
          <p:cNvSpPr/>
          <p:nvPr/>
        </p:nvSpPr>
        <p:spPr>
          <a:xfrm>
            <a:off x="8148673" y="1459978"/>
            <a:ext cx="3484064" cy="48993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07000"/>
              </a:lnSpc>
              <a:spcAft>
                <a:spcPts val="300"/>
              </a:spcAft>
            </a:pPr>
            <a:r>
              <a:rPr lang="en-GB" sz="1000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vidence of community agreement/PPA </a:t>
            </a:r>
          </a:p>
          <a:p>
            <a:pPr lvl="0" algn="just">
              <a:lnSpc>
                <a:spcPct val="107000"/>
              </a:lnSpc>
              <a:spcAft>
                <a:spcPts val="300"/>
              </a:spcAft>
            </a:pPr>
            <a:r>
              <a:rPr lang="en-GB" sz="1000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tailed revenue collection and revenue assurance plans, IT systems for managing collection, bank accounts, etc</a:t>
            </a:r>
          </a:p>
          <a:p>
            <a:pPr lvl="0" algn="just">
              <a:lnSpc>
                <a:spcPct val="107000"/>
              </a:lnSpc>
              <a:spcAft>
                <a:spcPts val="300"/>
              </a:spcAft>
            </a:pPr>
            <a:r>
              <a:rPr lang="en-GB" sz="1000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usiness plan, operational and maintenance plan, detailed work plan and schedule</a:t>
            </a:r>
          </a:p>
          <a:p>
            <a:pPr lvl="0" algn="just">
              <a:lnSpc>
                <a:spcPct val="107000"/>
              </a:lnSpc>
              <a:spcAft>
                <a:spcPts val="300"/>
              </a:spcAft>
            </a:pPr>
            <a:r>
              <a:rPr lang="en-GB" sz="1000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vidence of warranties on the distribution and generation assets</a:t>
            </a:r>
          </a:p>
          <a:p>
            <a:pPr lvl="0" algn="just">
              <a:lnSpc>
                <a:spcPct val="107000"/>
              </a:lnSpc>
              <a:spcAft>
                <a:spcPts val="300"/>
              </a:spcAft>
            </a:pPr>
            <a:r>
              <a:rPr lang="en-GB" sz="1000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egal mortgage assigning ownership of the mini grid asset to NESI SSL.</a:t>
            </a:r>
          </a:p>
          <a:p>
            <a:pPr lvl="0" algn="just">
              <a:lnSpc>
                <a:spcPct val="107000"/>
              </a:lnSpc>
              <a:spcAft>
                <a:spcPts val="300"/>
              </a:spcAft>
            </a:pPr>
            <a:r>
              <a:rPr lang="en-GB" sz="1000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vidence of comprehensive insurance noting interest of NESI SSL on the assets.</a:t>
            </a:r>
          </a:p>
          <a:p>
            <a:pPr lvl="0" algn="just">
              <a:lnSpc>
                <a:spcPct val="107000"/>
              </a:lnSpc>
              <a:spcAft>
                <a:spcPts val="300"/>
              </a:spcAft>
            </a:pPr>
            <a:r>
              <a:rPr lang="en-GB" sz="1000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vidence of contribution of owner’s equity.</a:t>
            </a:r>
          </a:p>
          <a:p>
            <a:pPr lvl="0" algn="just">
              <a:lnSpc>
                <a:spcPct val="107000"/>
              </a:lnSpc>
              <a:spcAft>
                <a:spcPts val="300"/>
              </a:spcAft>
            </a:pPr>
            <a:r>
              <a:rPr lang="en-GB" sz="1000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forma invoice of the equipment required </a:t>
            </a:r>
          </a:p>
          <a:p>
            <a:pPr lvl="0" algn="just">
              <a:lnSpc>
                <a:spcPct val="107000"/>
              </a:lnSpc>
              <a:spcAft>
                <a:spcPts val="300"/>
              </a:spcAft>
            </a:pPr>
            <a:r>
              <a:rPr lang="en-GB" sz="1000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and agreement and/or right to operate the mini grid in the proposed location.</a:t>
            </a:r>
          </a:p>
          <a:p>
            <a:pPr lvl="0" algn="just">
              <a:lnSpc>
                <a:spcPct val="107000"/>
              </a:lnSpc>
              <a:spcAft>
                <a:spcPts val="300"/>
              </a:spcAft>
            </a:pPr>
            <a:r>
              <a:rPr lang="en-GB" sz="1000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vision of view rights to collection/vending platform and bank statements</a:t>
            </a:r>
          </a:p>
          <a:p>
            <a:pPr lvl="0" algn="just">
              <a:lnSpc>
                <a:spcPct val="107000"/>
              </a:lnSpc>
              <a:spcAft>
                <a:spcPts val="300"/>
              </a:spcAft>
            </a:pPr>
            <a:r>
              <a:rPr lang="en-GB" sz="1000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vidence of NERC Registration or payment for permit to operate the mini grid in the proposed location.</a:t>
            </a:r>
          </a:p>
          <a:p>
            <a:pPr lvl="0" algn="just">
              <a:lnSpc>
                <a:spcPct val="107000"/>
              </a:lnSpc>
              <a:spcAft>
                <a:spcPts val="300"/>
              </a:spcAft>
            </a:pPr>
            <a:r>
              <a:rPr lang="en-GB" sz="1000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vidence of similar projects executed</a:t>
            </a:r>
          </a:p>
          <a:p>
            <a:pPr lvl="0" algn="just">
              <a:lnSpc>
                <a:spcPct val="107000"/>
              </a:lnSpc>
              <a:spcAft>
                <a:spcPts val="300"/>
              </a:spcAft>
            </a:pPr>
            <a:r>
              <a:rPr lang="en-GB" sz="1000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PC agreement</a:t>
            </a:r>
          </a:p>
          <a:p>
            <a:pPr lvl="0" algn="just">
              <a:lnSpc>
                <a:spcPct val="107000"/>
              </a:lnSpc>
              <a:spcAft>
                <a:spcPts val="300"/>
              </a:spcAft>
            </a:pPr>
            <a:r>
              <a:rPr lang="en-GB" sz="1000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vidence of qualification for WBG NEP component </a:t>
            </a:r>
          </a:p>
          <a:p>
            <a:pPr lvl="0" algn="just">
              <a:lnSpc>
                <a:spcPct val="107000"/>
              </a:lnSpc>
              <a:spcAft>
                <a:spcPts val="300"/>
              </a:spcAft>
            </a:pPr>
            <a:r>
              <a:rPr lang="en-GB" sz="1000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vidence of Environmental Social Management Plan for category 2 sites or ESIA for category 1 sites with environmental concerns.   </a:t>
            </a:r>
          </a:p>
        </p:txBody>
      </p:sp>
      <p:grpSp>
        <p:nvGrpSpPr>
          <p:cNvPr id="161" name="Group 160">
            <a:extLst>
              <a:ext uri="{FF2B5EF4-FFF2-40B4-BE49-F238E27FC236}">
                <a16:creationId xmlns:a16="http://schemas.microsoft.com/office/drawing/2014/main" id="{3FC4146C-39EF-9C45-BB74-5EE2999B4F5C}"/>
              </a:ext>
            </a:extLst>
          </p:cNvPr>
          <p:cNvGrpSpPr/>
          <p:nvPr/>
        </p:nvGrpSpPr>
        <p:grpSpPr>
          <a:xfrm>
            <a:off x="7915835" y="5759741"/>
            <a:ext cx="243461" cy="196605"/>
            <a:chOff x="4302177" y="1355372"/>
            <a:chExt cx="456319" cy="368497"/>
          </a:xfrm>
        </p:grpSpPr>
        <p:sp>
          <p:nvSpPr>
            <p:cNvPr id="162" name="Rectangle 161">
              <a:extLst>
                <a:ext uri="{FF2B5EF4-FFF2-40B4-BE49-F238E27FC236}">
                  <a16:creationId xmlns:a16="http://schemas.microsoft.com/office/drawing/2014/main" id="{7ECCCC92-5993-944A-9BFE-0A1806392BDC}"/>
                </a:ext>
              </a:extLst>
            </p:cNvPr>
            <p:cNvSpPr/>
            <p:nvPr/>
          </p:nvSpPr>
          <p:spPr>
            <a:xfrm>
              <a:off x="4302177" y="1439056"/>
              <a:ext cx="329784" cy="284813"/>
            </a:xfrm>
            <a:prstGeom prst="rect">
              <a:avLst/>
            </a:prstGeom>
            <a:noFill/>
            <a:ln w="9525">
              <a:solidFill>
                <a:srgbClr val="176739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163" name="Graphic 162">
              <a:extLst>
                <a:ext uri="{FF2B5EF4-FFF2-40B4-BE49-F238E27FC236}">
                  <a16:creationId xmlns:a16="http://schemas.microsoft.com/office/drawing/2014/main" id="{6D885A42-A5AC-8843-8C95-2123961F6FB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 b="27222"/>
            <a:stretch/>
          </p:blipFill>
          <p:spPr>
            <a:xfrm>
              <a:off x="4340532" y="1355372"/>
              <a:ext cx="417964" cy="365937"/>
            </a:xfrm>
            <a:prstGeom prst="rect">
              <a:avLst/>
            </a:prstGeom>
          </p:spPr>
        </p:pic>
      </p:grpSp>
      <p:sp>
        <p:nvSpPr>
          <p:cNvPr id="124" name="TextBox 123">
            <a:extLst>
              <a:ext uri="{FF2B5EF4-FFF2-40B4-BE49-F238E27FC236}">
                <a16:creationId xmlns:a16="http://schemas.microsoft.com/office/drawing/2014/main" id="{7A27663E-28F4-C540-935A-2FAB6338EA4F}"/>
              </a:ext>
            </a:extLst>
          </p:cNvPr>
          <p:cNvSpPr txBox="1"/>
          <p:nvPr/>
        </p:nvSpPr>
        <p:spPr>
          <a:xfrm>
            <a:off x="248528" y="3202978"/>
            <a:ext cx="3434593" cy="1746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lvl="0" indent="-228600">
              <a:spcAft>
                <a:spcPts val="300"/>
              </a:spcAft>
              <a:buFont typeface="+mj-lt"/>
              <a:buAutoNum type="arabicPeriod"/>
            </a:pPr>
            <a:r>
              <a:rPr lang="en-GB" sz="1000" b="1" dirty="0">
                <a:latin typeface="Century Gothic" panose="020B0502020202020204" pitchFamily="34" charset="0"/>
              </a:rPr>
              <a:t>Lien on pledged financial assets </a:t>
            </a:r>
            <a:r>
              <a:rPr lang="en-GB" sz="1000" dirty="0">
                <a:latin typeface="Century Gothic" panose="020B0502020202020204" pitchFamily="34" charset="0"/>
              </a:rPr>
              <a:t>(direct debit charge on the collection account(s) of the project and other projects owned where existing debt agreement permits)</a:t>
            </a:r>
          </a:p>
          <a:p>
            <a:pPr marL="228600" lvl="0" indent="-228600">
              <a:spcAft>
                <a:spcPts val="300"/>
              </a:spcAft>
              <a:buFont typeface="+mj-lt"/>
              <a:buAutoNum type="arabicPeriod"/>
            </a:pPr>
            <a:r>
              <a:rPr lang="en-GB" sz="1000" b="1" dirty="0">
                <a:latin typeface="Century Gothic" panose="020B0502020202020204" pitchFamily="34" charset="0"/>
              </a:rPr>
              <a:t>Escrow of the WBG grant </a:t>
            </a:r>
            <a:r>
              <a:rPr lang="en-GB" sz="1000" dirty="0">
                <a:latin typeface="Century Gothic" panose="020B0502020202020204" pitchFamily="34" charset="0"/>
              </a:rPr>
              <a:t>for prepayment of the facility</a:t>
            </a:r>
            <a:endParaRPr lang="en-GB" sz="1000" b="1" dirty="0">
              <a:latin typeface="Century Gothic" panose="020B0502020202020204" pitchFamily="34" charset="0"/>
            </a:endParaRPr>
          </a:p>
          <a:p>
            <a:pPr marL="228600" lvl="0" indent="-228600">
              <a:spcAft>
                <a:spcPts val="300"/>
              </a:spcAft>
              <a:buFont typeface="+mj-lt"/>
              <a:buAutoNum type="arabicPeriod"/>
            </a:pPr>
            <a:r>
              <a:rPr lang="en-GB" sz="1000" b="1" dirty="0">
                <a:solidFill>
                  <a:srgbClr val="000000"/>
                </a:solidFill>
                <a:latin typeface="Century Gothic" panose="020B0502020202020204" pitchFamily="34" charset="0"/>
              </a:rPr>
              <a:t>Signed undertaking </a:t>
            </a:r>
            <a:r>
              <a:rPr lang="en-GB" sz="1000" dirty="0">
                <a:solidFill>
                  <a:srgbClr val="000000"/>
                </a:solidFill>
                <a:latin typeface="Century Gothic" panose="020B0502020202020204" pitchFamily="34" charset="0"/>
              </a:rPr>
              <a:t>to contribute the monthly amounts payable to CBN in case of significant reduction in monthly revenue</a:t>
            </a:r>
            <a:endParaRPr lang="en-US" sz="1000" dirty="0">
              <a:latin typeface="Century Gothic" panose="020B0502020202020204" pitchFamily="34" charset="0"/>
            </a:endParaRPr>
          </a:p>
          <a:p>
            <a:pPr marL="228600" lvl="0" indent="-228600">
              <a:spcAft>
                <a:spcPts val="300"/>
              </a:spcAft>
              <a:buFont typeface="+mj-lt"/>
              <a:buAutoNum type="arabicPeriod"/>
            </a:pPr>
            <a:r>
              <a:rPr lang="en-GB" sz="1000" b="1" dirty="0">
                <a:latin typeface="Century Gothic" panose="020B0502020202020204" pitchFamily="34" charset="0"/>
              </a:rPr>
              <a:t>Legal Mortgage on the Mini-grid assets </a:t>
            </a:r>
            <a:endParaRPr lang="en-US" sz="1000" b="1" dirty="0">
              <a:latin typeface="Century Gothic" panose="020B0502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04512AD-C9AC-4642-9EEC-C0D911D6B5C3}"/>
              </a:ext>
            </a:extLst>
          </p:cNvPr>
          <p:cNvSpPr txBox="1"/>
          <p:nvPr/>
        </p:nvSpPr>
        <p:spPr>
          <a:xfrm>
            <a:off x="256805" y="1252605"/>
            <a:ext cx="3426316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spcAft>
                <a:spcPts val="300"/>
              </a:spcAft>
              <a:buFont typeface="+mj-lt"/>
              <a:buAutoNum type="arabicPeriod"/>
            </a:pPr>
            <a:r>
              <a:rPr lang="en-US" sz="1000" dirty="0">
                <a:latin typeface="Century Gothic" panose="020B0502020202020204" pitchFamily="34" charset="0"/>
              </a:rPr>
              <a:t>Access REA website and download business plan, loan application letter and other templates</a:t>
            </a:r>
          </a:p>
          <a:p>
            <a:pPr marL="228600" indent="-228600">
              <a:spcAft>
                <a:spcPts val="300"/>
              </a:spcAft>
              <a:buFont typeface="+mj-lt"/>
              <a:buAutoNum type="arabicPeriod"/>
            </a:pPr>
            <a:r>
              <a:rPr lang="en-US" sz="1000" dirty="0">
                <a:latin typeface="Century Gothic" panose="020B0502020202020204" pitchFamily="34" charset="0"/>
              </a:rPr>
              <a:t>Upload completed business plan, loan application letter and financial model alongside all supporting documents in data room</a:t>
            </a:r>
          </a:p>
          <a:p>
            <a:pPr marL="228600" indent="-228600">
              <a:spcAft>
                <a:spcPts val="300"/>
              </a:spcAft>
              <a:buFont typeface="+mj-lt"/>
              <a:buAutoNum type="arabicPeriod"/>
            </a:pPr>
            <a:r>
              <a:rPr lang="en-US" sz="1000" dirty="0">
                <a:latin typeface="Century Gothic" panose="020B0502020202020204" pitchFamily="34" charset="0"/>
              </a:rPr>
              <a:t>Send loan application letter using the email template to </a:t>
            </a:r>
            <a:r>
              <a:rPr lang="en-US" sz="1000" dirty="0">
                <a:latin typeface="Century Gothic" panose="020B0502020202020204" pitchFamily="34" charset="0"/>
                <a:hlinkClick r:id="rId13"/>
              </a:rPr>
              <a:t>suleiman.babamanu@rea.gov.ng</a:t>
            </a:r>
            <a:endParaRPr lang="en-US" sz="1000" dirty="0">
              <a:highlight>
                <a:srgbClr val="FFFF00"/>
              </a:highlight>
              <a:latin typeface="Century Gothic" panose="020B0502020202020204" pitchFamily="34" charset="0"/>
            </a:endParaRPr>
          </a:p>
          <a:p>
            <a:pPr marL="228600" indent="-228600">
              <a:spcAft>
                <a:spcPts val="300"/>
              </a:spcAft>
              <a:buFont typeface="+mj-lt"/>
              <a:buAutoNum type="arabicPeriod"/>
            </a:pPr>
            <a:r>
              <a:rPr lang="en-US" sz="1000" dirty="0">
                <a:latin typeface="Century Gothic" panose="020B0502020202020204" pitchFamily="34" charset="0"/>
              </a:rPr>
              <a:t>Receive application confirmation response</a:t>
            </a:r>
          </a:p>
          <a:p>
            <a:pPr marL="228600" indent="-228600">
              <a:spcAft>
                <a:spcPts val="300"/>
              </a:spcAft>
              <a:buFont typeface="+mj-lt"/>
              <a:buAutoNum type="arabicPeriod"/>
            </a:pPr>
            <a:endParaRPr lang="en-US" sz="1000" dirty="0">
              <a:latin typeface="Century Gothic" panose="020B0502020202020204" pitchFamily="34" charset="0"/>
            </a:endParaRP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243B1B62-78B4-3A43-92AB-7DFD8EF08915}"/>
              </a:ext>
            </a:extLst>
          </p:cNvPr>
          <p:cNvSpPr txBox="1"/>
          <p:nvPr/>
        </p:nvSpPr>
        <p:spPr>
          <a:xfrm>
            <a:off x="4081304" y="4691919"/>
            <a:ext cx="3612941" cy="1782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20000"/>
              </a:lnSpc>
              <a:spcAft>
                <a:spcPts val="300"/>
              </a:spcAft>
            </a:pPr>
            <a:r>
              <a:rPr lang="en-GB" sz="1000" dirty="0">
                <a:latin typeface="Century Gothic" panose="020B0502020202020204" pitchFamily="34" charset="0"/>
              </a:rPr>
              <a:t>Demand analysis and monthly sales projection</a:t>
            </a:r>
          </a:p>
          <a:p>
            <a:pPr lvl="0">
              <a:lnSpc>
                <a:spcPct val="120000"/>
              </a:lnSpc>
              <a:spcAft>
                <a:spcPts val="300"/>
              </a:spcAft>
            </a:pPr>
            <a:r>
              <a:rPr lang="en-GB" sz="1000" dirty="0">
                <a:latin typeface="Century Gothic" panose="020B0502020202020204" pitchFamily="34" charset="0"/>
              </a:rPr>
              <a:t>Evidence of potential buyers of the SHS</a:t>
            </a:r>
          </a:p>
          <a:p>
            <a:pPr lvl="0">
              <a:lnSpc>
                <a:spcPct val="120000"/>
              </a:lnSpc>
              <a:spcAft>
                <a:spcPts val="300"/>
              </a:spcAft>
            </a:pPr>
            <a:r>
              <a:rPr lang="en-GB" sz="1000" dirty="0">
                <a:latin typeface="Century Gothic" panose="020B0502020202020204" pitchFamily="34" charset="0"/>
              </a:rPr>
              <a:t>Historical &amp; current inventory size</a:t>
            </a:r>
          </a:p>
          <a:p>
            <a:pPr lvl="0">
              <a:lnSpc>
                <a:spcPct val="120000"/>
              </a:lnSpc>
              <a:spcAft>
                <a:spcPts val="300"/>
              </a:spcAft>
            </a:pPr>
            <a:r>
              <a:rPr lang="en-GB" sz="1000" dirty="0">
                <a:latin typeface="Century Gothic" panose="020B0502020202020204" pitchFamily="34" charset="0"/>
              </a:rPr>
              <a:t>Historical sales</a:t>
            </a:r>
          </a:p>
          <a:p>
            <a:pPr lvl="0">
              <a:lnSpc>
                <a:spcPct val="120000"/>
              </a:lnSpc>
              <a:spcAft>
                <a:spcPts val="300"/>
              </a:spcAft>
            </a:pPr>
            <a:r>
              <a:rPr lang="en-GB" sz="1000" dirty="0">
                <a:latin typeface="Century Gothic" panose="020B0502020202020204" pitchFamily="34" charset="0"/>
              </a:rPr>
              <a:t>Plan for localization of sourcing</a:t>
            </a:r>
          </a:p>
          <a:p>
            <a:pPr lvl="0">
              <a:lnSpc>
                <a:spcPct val="120000"/>
              </a:lnSpc>
              <a:spcAft>
                <a:spcPts val="300"/>
              </a:spcAft>
            </a:pPr>
            <a:r>
              <a:rPr lang="en-GB" sz="1000" dirty="0">
                <a:latin typeface="Century Gothic" panose="020B0502020202020204" pitchFamily="34" charset="0"/>
              </a:rPr>
              <a:t>Evidence of qualification to the SHS component of the WB NEP Mini grid component</a:t>
            </a:r>
          </a:p>
          <a:p>
            <a:pPr>
              <a:lnSpc>
                <a:spcPct val="120000"/>
              </a:lnSpc>
            </a:pPr>
            <a:endParaRPr lang="en-US" sz="1000" dirty="0">
              <a:latin typeface="Century Gothic" panose="020B0502020202020204" pitchFamily="34" charset="0"/>
            </a:endParaRP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BB15E08E-2303-DB40-920F-BD8B09DAA19E}"/>
              </a:ext>
            </a:extLst>
          </p:cNvPr>
          <p:cNvSpPr txBox="1"/>
          <p:nvPr/>
        </p:nvSpPr>
        <p:spPr>
          <a:xfrm>
            <a:off x="3725192" y="4452216"/>
            <a:ext cx="38161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176739"/>
                </a:solidFill>
                <a:latin typeface="Century Gothic" panose="020B0502020202020204" pitchFamily="34" charset="0"/>
              </a:rPr>
              <a:t>SHS: Additional Documents Checklist </a:t>
            </a:r>
          </a:p>
        </p:txBody>
      </p:sp>
      <p:grpSp>
        <p:nvGrpSpPr>
          <p:cNvPr id="137" name="Group 136">
            <a:extLst>
              <a:ext uri="{FF2B5EF4-FFF2-40B4-BE49-F238E27FC236}">
                <a16:creationId xmlns:a16="http://schemas.microsoft.com/office/drawing/2014/main" id="{4B2C28AC-AD77-304F-BBCA-0B97803FF6E6}"/>
              </a:ext>
            </a:extLst>
          </p:cNvPr>
          <p:cNvGrpSpPr/>
          <p:nvPr/>
        </p:nvGrpSpPr>
        <p:grpSpPr>
          <a:xfrm>
            <a:off x="3851446" y="4704069"/>
            <a:ext cx="243461" cy="196605"/>
            <a:chOff x="4302177" y="1355372"/>
            <a:chExt cx="456319" cy="368497"/>
          </a:xfrm>
        </p:grpSpPr>
        <p:sp>
          <p:nvSpPr>
            <p:cNvPr id="146" name="Rectangle 145">
              <a:extLst>
                <a:ext uri="{FF2B5EF4-FFF2-40B4-BE49-F238E27FC236}">
                  <a16:creationId xmlns:a16="http://schemas.microsoft.com/office/drawing/2014/main" id="{016A504C-F69F-264D-BA89-D1A821C0B6DF}"/>
                </a:ext>
              </a:extLst>
            </p:cNvPr>
            <p:cNvSpPr/>
            <p:nvPr/>
          </p:nvSpPr>
          <p:spPr>
            <a:xfrm>
              <a:off x="4302177" y="1439056"/>
              <a:ext cx="329784" cy="284813"/>
            </a:xfrm>
            <a:prstGeom prst="rect">
              <a:avLst/>
            </a:prstGeom>
            <a:noFill/>
            <a:ln w="9525">
              <a:solidFill>
                <a:srgbClr val="176739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147" name="Graphic 146">
              <a:extLst>
                <a:ext uri="{FF2B5EF4-FFF2-40B4-BE49-F238E27FC236}">
                  <a16:creationId xmlns:a16="http://schemas.microsoft.com/office/drawing/2014/main" id="{332E49FD-FBBE-674C-B544-E7058AEA0CE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 b="27222"/>
            <a:stretch/>
          </p:blipFill>
          <p:spPr>
            <a:xfrm>
              <a:off x="4340532" y="1355372"/>
              <a:ext cx="417964" cy="365937"/>
            </a:xfrm>
            <a:prstGeom prst="rect">
              <a:avLst/>
            </a:prstGeom>
          </p:spPr>
        </p:pic>
      </p:grp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970D2889-B78D-8D45-8B12-3126B16ACB06}"/>
              </a:ext>
            </a:extLst>
          </p:cNvPr>
          <p:cNvGrpSpPr/>
          <p:nvPr/>
        </p:nvGrpSpPr>
        <p:grpSpPr>
          <a:xfrm>
            <a:off x="3851446" y="4921397"/>
            <a:ext cx="243461" cy="196605"/>
            <a:chOff x="4302177" y="1355372"/>
            <a:chExt cx="456319" cy="368497"/>
          </a:xfrm>
        </p:grpSpPr>
        <p:sp>
          <p:nvSpPr>
            <p:cNvPr id="149" name="Rectangle 148">
              <a:extLst>
                <a:ext uri="{FF2B5EF4-FFF2-40B4-BE49-F238E27FC236}">
                  <a16:creationId xmlns:a16="http://schemas.microsoft.com/office/drawing/2014/main" id="{9D0612FF-237F-1643-A3A7-3F3BFE8EC772}"/>
                </a:ext>
              </a:extLst>
            </p:cNvPr>
            <p:cNvSpPr/>
            <p:nvPr/>
          </p:nvSpPr>
          <p:spPr>
            <a:xfrm>
              <a:off x="4302177" y="1439056"/>
              <a:ext cx="329784" cy="284813"/>
            </a:xfrm>
            <a:prstGeom prst="rect">
              <a:avLst/>
            </a:prstGeom>
            <a:noFill/>
            <a:ln w="9525">
              <a:solidFill>
                <a:srgbClr val="176739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150" name="Graphic 149">
              <a:extLst>
                <a:ext uri="{FF2B5EF4-FFF2-40B4-BE49-F238E27FC236}">
                  <a16:creationId xmlns:a16="http://schemas.microsoft.com/office/drawing/2014/main" id="{294B2767-DA0A-0340-A304-B346A20DA13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 b="27222"/>
            <a:stretch/>
          </p:blipFill>
          <p:spPr>
            <a:xfrm>
              <a:off x="4340532" y="1355372"/>
              <a:ext cx="417964" cy="365937"/>
            </a:xfrm>
            <a:prstGeom prst="rect">
              <a:avLst/>
            </a:prstGeom>
          </p:spPr>
        </p:pic>
      </p:grpSp>
      <p:grpSp>
        <p:nvGrpSpPr>
          <p:cNvPr id="164" name="Group 163">
            <a:extLst>
              <a:ext uri="{FF2B5EF4-FFF2-40B4-BE49-F238E27FC236}">
                <a16:creationId xmlns:a16="http://schemas.microsoft.com/office/drawing/2014/main" id="{6593902B-30BF-5349-BFF6-1D011AC4FAD7}"/>
              </a:ext>
            </a:extLst>
          </p:cNvPr>
          <p:cNvGrpSpPr/>
          <p:nvPr/>
        </p:nvGrpSpPr>
        <p:grpSpPr>
          <a:xfrm>
            <a:off x="3851446" y="5150732"/>
            <a:ext cx="243461" cy="196605"/>
            <a:chOff x="4302177" y="1355372"/>
            <a:chExt cx="456319" cy="368497"/>
          </a:xfrm>
        </p:grpSpPr>
        <p:sp>
          <p:nvSpPr>
            <p:cNvPr id="165" name="Rectangle 164">
              <a:extLst>
                <a:ext uri="{FF2B5EF4-FFF2-40B4-BE49-F238E27FC236}">
                  <a16:creationId xmlns:a16="http://schemas.microsoft.com/office/drawing/2014/main" id="{749C429B-8D41-644E-9BF3-05301D5849BC}"/>
                </a:ext>
              </a:extLst>
            </p:cNvPr>
            <p:cNvSpPr/>
            <p:nvPr/>
          </p:nvSpPr>
          <p:spPr>
            <a:xfrm>
              <a:off x="4302177" y="1439056"/>
              <a:ext cx="329784" cy="284813"/>
            </a:xfrm>
            <a:prstGeom prst="rect">
              <a:avLst/>
            </a:prstGeom>
            <a:noFill/>
            <a:ln w="9525">
              <a:solidFill>
                <a:srgbClr val="176739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166" name="Graphic 165">
              <a:extLst>
                <a:ext uri="{FF2B5EF4-FFF2-40B4-BE49-F238E27FC236}">
                  <a16:creationId xmlns:a16="http://schemas.microsoft.com/office/drawing/2014/main" id="{005F301B-5BE1-AD48-8127-D229EF65326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 b="27222"/>
            <a:stretch/>
          </p:blipFill>
          <p:spPr>
            <a:xfrm>
              <a:off x="4340532" y="1355372"/>
              <a:ext cx="417964" cy="365937"/>
            </a:xfrm>
            <a:prstGeom prst="rect">
              <a:avLst/>
            </a:prstGeom>
          </p:spPr>
        </p:pic>
      </p:grpSp>
      <p:grpSp>
        <p:nvGrpSpPr>
          <p:cNvPr id="167" name="Group 166">
            <a:extLst>
              <a:ext uri="{FF2B5EF4-FFF2-40B4-BE49-F238E27FC236}">
                <a16:creationId xmlns:a16="http://schemas.microsoft.com/office/drawing/2014/main" id="{DB36546C-E0E8-B846-9E52-7911E03A02CF}"/>
              </a:ext>
            </a:extLst>
          </p:cNvPr>
          <p:cNvGrpSpPr/>
          <p:nvPr/>
        </p:nvGrpSpPr>
        <p:grpSpPr>
          <a:xfrm>
            <a:off x="3851446" y="5373586"/>
            <a:ext cx="243461" cy="196605"/>
            <a:chOff x="4302177" y="1355372"/>
            <a:chExt cx="456319" cy="368497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8679875F-6F65-5A4E-A420-CCB58141A6B2}"/>
                </a:ext>
              </a:extLst>
            </p:cNvPr>
            <p:cNvSpPr/>
            <p:nvPr/>
          </p:nvSpPr>
          <p:spPr>
            <a:xfrm>
              <a:off x="4302177" y="1439056"/>
              <a:ext cx="329784" cy="284813"/>
            </a:xfrm>
            <a:prstGeom prst="rect">
              <a:avLst/>
            </a:prstGeom>
            <a:noFill/>
            <a:ln w="9525">
              <a:solidFill>
                <a:srgbClr val="176739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169" name="Graphic 168">
              <a:extLst>
                <a:ext uri="{FF2B5EF4-FFF2-40B4-BE49-F238E27FC236}">
                  <a16:creationId xmlns:a16="http://schemas.microsoft.com/office/drawing/2014/main" id="{4938BA91-53C2-584C-AAB1-48342143EA0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 b="27222"/>
            <a:stretch/>
          </p:blipFill>
          <p:spPr>
            <a:xfrm>
              <a:off x="4340532" y="1355372"/>
              <a:ext cx="417964" cy="365937"/>
            </a:xfrm>
            <a:prstGeom prst="rect">
              <a:avLst/>
            </a:prstGeom>
          </p:spPr>
        </p:pic>
      </p:grpSp>
      <p:grpSp>
        <p:nvGrpSpPr>
          <p:cNvPr id="170" name="Group 169">
            <a:extLst>
              <a:ext uri="{FF2B5EF4-FFF2-40B4-BE49-F238E27FC236}">
                <a16:creationId xmlns:a16="http://schemas.microsoft.com/office/drawing/2014/main" id="{CF054BBF-65AC-2C4C-B463-BBB43E3F60C9}"/>
              </a:ext>
            </a:extLst>
          </p:cNvPr>
          <p:cNvGrpSpPr/>
          <p:nvPr/>
        </p:nvGrpSpPr>
        <p:grpSpPr>
          <a:xfrm>
            <a:off x="3851446" y="5925464"/>
            <a:ext cx="243461" cy="196605"/>
            <a:chOff x="4302177" y="1355372"/>
            <a:chExt cx="456319" cy="368497"/>
          </a:xfrm>
        </p:grpSpPr>
        <p:sp>
          <p:nvSpPr>
            <p:cNvPr id="171" name="Rectangle 170">
              <a:extLst>
                <a:ext uri="{FF2B5EF4-FFF2-40B4-BE49-F238E27FC236}">
                  <a16:creationId xmlns:a16="http://schemas.microsoft.com/office/drawing/2014/main" id="{0952C478-992E-B247-A5F2-AA67038FF551}"/>
                </a:ext>
              </a:extLst>
            </p:cNvPr>
            <p:cNvSpPr/>
            <p:nvPr/>
          </p:nvSpPr>
          <p:spPr>
            <a:xfrm>
              <a:off x="4302177" y="1439056"/>
              <a:ext cx="329784" cy="284813"/>
            </a:xfrm>
            <a:prstGeom prst="rect">
              <a:avLst/>
            </a:prstGeom>
            <a:noFill/>
            <a:ln w="9525">
              <a:solidFill>
                <a:srgbClr val="176739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172" name="Graphic 171">
              <a:extLst>
                <a:ext uri="{FF2B5EF4-FFF2-40B4-BE49-F238E27FC236}">
                  <a16:creationId xmlns:a16="http://schemas.microsoft.com/office/drawing/2014/main" id="{0E1B3120-68F8-994C-BA1D-52733D720F6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 b="27222"/>
            <a:stretch/>
          </p:blipFill>
          <p:spPr>
            <a:xfrm>
              <a:off x="4340532" y="1355372"/>
              <a:ext cx="417964" cy="365937"/>
            </a:xfrm>
            <a:prstGeom prst="rect">
              <a:avLst/>
            </a:prstGeom>
          </p:spPr>
        </p:pic>
      </p:grp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B6DE3EC5-9243-904F-9D38-BB39897BB44D}"/>
              </a:ext>
            </a:extLst>
          </p:cNvPr>
          <p:cNvGrpSpPr/>
          <p:nvPr/>
        </p:nvGrpSpPr>
        <p:grpSpPr>
          <a:xfrm>
            <a:off x="3851446" y="5613917"/>
            <a:ext cx="243461" cy="196605"/>
            <a:chOff x="4302177" y="1355372"/>
            <a:chExt cx="456319" cy="368497"/>
          </a:xfrm>
        </p:grpSpPr>
        <p:sp>
          <p:nvSpPr>
            <p:cNvPr id="174" name="Rectangle 173">
              <a:extLst>
                <a:ext uri="{FF2B5EF4-FFF2-40B4-BE49-F238E27FC236}">
                  <a16:creationId xmlns:a16="http://schemas.microsoft.com/office/drawing/2014/main" id="{F4ACBBAE-6A33-B443-9BD0-9BEAFB8C3025}"/>
                </a:ext>
              </a:extLst>
            </p:cNvPr>
            <p:cNvSpPr/>
            <p:nvPr/>
          </p:nvSpPr>
          <p:spPr>
            <a:xfrm>
              <a:off x="4302177" y="1439056"/>
              <a:ext cx="329784" cy="284813"/>
            </a:xfrm>
            <a:prstGeom prst="rect">
              <a:avLst/>
            </a:prstGeom>
            <a:noFill/>
            <a:ln w="9525">
              <a:solidFill>
                <a:srgbClr val="176739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175" name="Graphic 174">
              <a:extLst>
                <a:ext uri="{FF2B5EF4-FFF2-40B4-BE49-F238E27FC236}">
                  <a16:creationId xmlns:a16="http://schemas.microsoft.com/office/drawing/2014/main" id="{F2D35FF8-9322-EA43-BF0E-CC4DCFA131B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 b="27222"/>
            <a:stretch/>
          </p:blipFill>
          <p:spPr>
            <a:xfrm>
              <a:off x="4340532" y="1355372"/>
              <a:ext cx="417964" cy="36593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93997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VIOUSNAME" val="C:\Users\Oliver Onyekweli\Desktop\DFID\Geospatial\4. Steerco\Final Deliverables Doc\Final\PPT\20190327_NPSS Geospatial Model Final Deliverable_vF.pptx"/>
  <p:tag name="BLUEONEFOURTHTITLEFONTCOLORFIXED" val="true"/>
  <p:tag name="DARKLAYOUTNAMESCHANGEDTOCONTRAST" val="true"/>
  <p:tag name="MTBTACCENT" val="Accent4ColorBoldText"/>
  <p:tag name="THINKCELLPRESENTATIONDONOTDELETE" val="&lt;?xml version=&quot;1.0&quot; encoding=&quot;UTF-16&quot; standalone=&quot;yes&quot;?&gt;&lt;root reqver=&quot;27037&quot;&gt;&lt;version val=&quot;28379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11&quot;&gt;&lt;elem m_fUsage=&quot;3.25655190924798221275E+00&quot;&gt;&lt;m_msothmcolidx val=&quot;0&quot;/&gt;&lt;m_rgb r=&quot;D3&quot; g=&quot;D3&quot; b=&quot;D3&quot;/&gt;&lt;/elem&gt;&lt;elem m_fUsage=&quot;1.88478068450070046502E+00&quot;&gt;&lt;m_msothmcolidx val=&quot;0&quot;/&gt;&lt;m_rgb r=&quot;BF&quot; g=&quot;BF&quot; b=&quot;BF&quot;/&gt;&lt;/elem&gt;&lt;elem m_fUsage=&quot;1.68738654740214677474E+00&quot;&gt;&lt;m_msothmcolidx val=&quot;0&quot;/&gt;&lt;m_rgb r=&quot;69&quot; g=&quot;69&quot; b=&quot;69&quot;/&gt;&lt;/elem&gt;&lt;elem m_fUsage=&quot;1.38509999999999999787E+00&quot;&gt;&lt;m_msothmcolidx val=&quot;0&quot;/&gt;&lt;m_rgb r=&quot;FB&quot; g=&quot;B1&quot; b=&quot;00&quot;/&gt;&lt;/elem&gt;&lt;elem m_fUsage=&quot;1.02095721000000017042E+00&quot;&gt;&lt;m_msothmcolidx val=&quot;0&quot;/&gt;&lt;m_rgb r=&quot;D1&quot; g=&quot;E2&quot; b=&quot;E0&quot;/&gt;&lt;/elem&gt;&lt;elem m_fUsage=&quot;5.93772863220988322830E-01&quot;&gt;&lt;m_msothmcolidx val=&quot;0&quot;/&gt;&lt;m_rgb r=&quot;94&quot; g=&quot;00&quot; b=&quot;00&quot;/&gt;&lt;/elem&gt;&lt;elem m_fUsage=&quot;1.09418989131512434110E-01&quot;&gt;&lt;m_msothmcolidx val=&quot;0&quot;/&gt;&lt;m_rgb r=&quot;FF&quot; g=&quot;C1&quot; b=&quot;C1&quot;/&gt;&lt;/elem&gt;&lt;elem m_fUsage=&quot;2.09844450560497039482E-02&quot;&gt;&lt;m_msothmcolidx val=&quot;0&quot;/&gt;&lt;m_rgb r=&quot;C2&quot; g=&quot;EB&quot; b=&quot;CD&quot;/&gt;&lt;/elem&gt;&lt;elem m_fUsage=&quot;5.72641689702235463094E-03&quot;&gt;&lt;m_msothmcolidx val=&quot;0&quot;/&gt;&lt;m_rgb r=&quot;46&quot; g=&quot;C1&quot; b=&quot;6F&quot;/&gt;&lt;/elem&gt;&lt;elem m_fUsage=&quot;4.17455791792929655631E-03&quot;&gt;&lt;m_msothmcolidx val=&quot;0&quot;/&gt;&lt;m_rgb r=&quot;40&quot; g=&quot;9D&quot; b=&quot;AD&quot;/&gt;&lt;/elem&gt;&lt;elem m_fUsage=&quot;3.75710212613636698742E-03&quot;&gt;&lt;m_msothmcolidx val=&quot;0&quot;/&gt;&lt;m_rgb r=&quot;0B&quot; g=&quot;2D&quot; b=&quot;1A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xHr9MLTYSGc0kEuX4ql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j3FuHqyosdKsTcN_f3L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j3FuHqyosdKsTcN_f3L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xHr9MLTYSGc0kEuX4ql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xHr9MLTYSGc0kEuX4ql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heme/theme1.xml><?xml version="1.0" encoding="utf-8"?>
<a:theme xmlns:a="http://schemas.openxmlformats.org/drawingml/2006/main" name="1_Firm Format - template">
  <a:themeElements>
    <a:clrScheme name="Custom 1">
      <a:dk1>
        <a:srgbClr val="000000"/>
      </a:dk1>
      <a:lt1>
        <a:srgbClr val="FFFFFF"/>
      </a:lt1>
      <a:dk2>
        <a:srgbClr val="176739"/>
      </a:dk2>
      <a:lt2>
        <a:srgbClr val="FFFFFF"/>
      </a:lt2>
      <a:accent1>
        <a:srgbClr val="D1E2E0"/>
      </a:accent1>
      <a:accent2>
        <a:srgbClr val="3DB75D"/>
      </a:accent2>
      <a:accent3>
        <a:srgbClr val="28974B"/>
      </a:accent3>
      <a:accent4>
        <a:srgbClr val="176739"/>
      </a:accent4>
      <a:accent5>
        <a:srgbClr val="404040"/>
      </a:accent5>
      <a:accent6>
        <a:srgbClr val="808080"/>
      </a:accent6>
      <a:hlink>
        <a:srgbClr val="28974B"/>
      </a:hlink>
      <a:folHlink>
        <a:srgbClr val="176739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LOP - wide" id="{AC49C514-899D-4B72-826A-628650FA61FA}" vid="{7E1BFA72-62F1-42BE-A2D2-362013624C6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93</Words>
  <Application>Microsoft Macintosh PowerPoint</Application>
  <PresentationFormat>Custom</PresentationFormat>
  <Paragraphs>4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Century Gothic</vt:lpstr>
      <vt:lpstr>1_Firm Format - template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0-03-08T21:30:52Z</dcterms:created>
  <dcterms:modified xsi:type="dcterms:W3CDTF">2020-10-26T14:21:11Z</dcterms:modified>
</cp:coreProperties>
</file>